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257" r:id="rId2"/>
    <p:sldId id="288" r:id="rId3"/>
    <p:sldId id="284" r:id="rId4"/>
    <p:sldId id="286" r:id="rId5"/>
    <p:sldId id="291" r:id="rId6"/>
    <p:sldId id="282" r:id="rId7"/>
    <p:sldId id="292" r:id="rId8"/>
    <p:sldId id="293" r:id="rId9"/>
    <p:sldId id="290" r:id="rId10"/>
    <p:sldId id="289" r:id="rId11"/>
    <p:sldId id="261" r:id="rId12"/>
    <p:sldId id="275" r:id="rId13"/>
    <p:sldId id="271" r:id="rId14"/>
    <p:sldId id="267" r:id="rId15"/>
    <p:sldId id="266" r:id="rId16"/>
    <p:sldId id="263" r:id="rId17"/>
    <p:sldId id="281" r:id="rId18"/>
    <p:sldId id="280" r:id="rId19"/>
    <p:sldId id="273" r:id="rId20"/>
    <p:sldId id="277" r:id="rId21"/>
    <p:sldId id="265" r:id="rId22"/>
    <p:sldId id="274" r:id="rId23"/>
  </p:sldIdLst>
  <p:sldSz cx="9144000" cy="5143500" type="screen16x9"/>
  <p:notesSz cx="6858000" cy="9144000"/>
  <p:custDataLst>
    <p:tags r:id="rId26"/>
  </p:custDataLst>
  <p:defaultTextStyle>
    <a:defPPr>
      <a:defRPr lang="en-US"/>
    </a:defPPr>
    <a:lvl1pPr marL="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20BEFF"/>
    <a:srgbClr val="765690"/>
    <a:srgbClr val="A302E4"/>
    <a:srgbClr val="2800D2"/>
    <a:srgbClr val="FC68E7"/>
    <a:srgbClr val="0068E6"/>
    <a:srgbClr val="2C00E6"/>
    <a:srgbClr val="65FFE2"/>
    <a:srgbClr val="8D23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8313" autoAdjust="0"/>
  </p:normalViewPr>
  <p:slideViewPr>
    <p:cSldViewPr snapToGrid="0" snapToObjects="1">
      <p:cViewPr varScale="1">
        <p:scale>
          <a:sx n="190" d="100"/>
          <a:sy n="190" d="100"/>
        </p:scale>
        <p:origin x="210" y="15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2" d="100"/>
          <a:sy n="92" d="100"/>
        </p:scale>
        <p:origin x="442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4A2AE0C-787F-F048-9C7F-3941E4EB57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B1DD56-F818-B34B-B289-B42F1002BE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B111F-537A-A44D-9077-472A5CE198C7}" type="datetimeFigureOut">
              <a:rPr lang="de-DE" smtClean="0"/>
              <a:t>28.1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B576C4-CFDB-6F4F-9FD0-F03A6878FB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249998-FB07-7E46-B780-C47CBBDA24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649B8-39F8-2343-A333-6A7A78DE25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927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DA1E77-5117-B348-899E-C7E9C4D9F712}" type="datetimeFigureOut">
              <a:rPr lang="de-DE" smtClean="0"/>
              <a:t>28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489D3D-26F7-E94A-85B1-4DC7A85B894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404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allo und </a:t>
            </a:r>
            <a:r>
              <a:rPr lang="de-DE" dirty="0" err="1"/>
              <a:t>herzlisch</a:t>
            </a:r>
            <a:r>
              <a:rPr lang="de-DE" dirty="0"/>
              <a:t> willkom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6550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rage: Wer erhält die Nachrich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61606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shalb werden wir uns in diesem Workshop anschauen welche </a:t>
            </a:r>
            <a:r>
              <a:rPr lang="de-DE" dirty="0" err="1"/>
              <a:t>Kommunikationarten</a:t>
            </a:r>
            <a:r>
              <a:rPr lang="de-DE" dirty="0"/>
              <a:t> es gibt und wie sich diese verhal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5848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rage: Wer erhält die Nachrich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95651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rage: Wer erhält die Nachricht?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azi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Beispiel: Briefkasten für Zeitschrif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2716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rage: Wer erhält die Nachricht?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azi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Beispiel: Warnungen bei </a:t>
            </a:r>
            <a:r>
              <a:rPr lang="de-DE" dirty="0" err="1"/>
              <a:t>AlarmIT</a:t>
            </a:r>
            <a:endParaRPr lang="de-DE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0109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800" dirty="0">
                <a:effectLst/>
                <a:latin typeface="Calibri" panose="020F0502020204030204" pitchFamily="34" charset="0"/>
              </a:rPr>
              <a:t>Die Idee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vom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Digispine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ist</a:t>
            </a:r>
            <a:r>
              <a:rPr lang="en-GB" sz="1800" dirty="0">
                <a:effectLst/>
                <a:latin typeface="Calibri" panose="020F0502020204030204" pitchFamily="34" charset="0"/>
              </a:rPr>
              <a:t> es,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eine</a:t>
            </a:r>
            <a:r>
              <a:rPr lang="en-GB" sz="1800" dirty="0">
                <a:effectLst/>
                <a:latin typeface="Calibri" panose="020F0502020204030204" pitchFamily="34" charset="0"/>
              </a:rPr>
              <a:t> Platform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zu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biet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die es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ermöglicht</a:t>
            </a:r>
            <a:r>
              <a:rPr lang="en-GB" sz="1800" dirty="0">
                <a:effectLst/>
                <a:latin typeface="Calibri" panose="020F0502020204030204" pitchFamily="34" charset="0"/>
              </a:rPr>
              <a:t> die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Ergebnisse</a:t>
            </a:r>
            <a:r>
              <a:rPr lang="en-GB" sz="1800" dirty="0">
                <a:effectLst/>
                <a:latin typeface="Calibri" panose="020F0502020204030204" pitchFamily="34" charset="0"/>
              </a:rPr>
              <a:t> von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Geschäftsanwendung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zu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Kombinier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und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somit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aus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dieser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Kombinatio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ein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Mehrwert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zu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generieren</a:t>
            </a:r>
            <a:r>
              <a:rPr lang="en-GB" sz="1800" dirty="0">
                <a:effectLst/>
                <a:latin typeface="Calibri" panose="020F0502020204030204" pitchFamily="34" charset="0"/>
              </a:rPr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6684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effectLst/>
                <a:latin typeface="Calibri" panose="020F0502020204030204" pitchFamily="34" charset="0"/>
              </a:rPr>
              <a:t>Und um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sicherzustell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das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diese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ichtige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Dat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sinnvoll</a:t>
            </a:r>
            <a:r>
              <a:rPr lang="en-GB" sz="1800" dirty="0">
                <a:effectLst/>
                <a:latin typeface="Calibri" panose="020F0502020204030204" pitchFamily="34" charset="0"/>
              </a:rPr>
              <a:t> von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ander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anwendung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eiterverarbeitet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erd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können</a:t>
            </a:r>
            <a:r>
              <a:rPr lang="en-GB" sz="1800" dirty="0">
                <a:effectLst/>
                <a:latin typeface="Calibri" panose="020F0502020204030204" pitchFamily="34" charset="0"/>
              </a:rPr>
              <a:t>,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befass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ir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uns</a:t>
            </a:r>
            <a:r>
              <a:rPr lang="en-GB" sz="1800" dirty="0">
                <a:effectLst/>
                <a:latin typeface="Calibri" panose="020F0502020204030204" pitchFamily="34" charset="0"/>
              </a:rPr>
              <a:t> in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diesem</a:t>
            </a:r>
            <a:r>
              <a:rPr lang="en-GB" sz="1800" dirty="0">
                <a:effectLst/>
                <a:latin typeface="Calibri" panose="020F0502020204030204" pitchFamily="34" charset="0"/>
              </a:rPr>
              <a:t> Workshop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mit</a:t>
            </a:r>
            <a:r>
              <a:rPr lang="en-GB" sz="1800" dirty="0">
                <a:effectLst/>
                <a:latin typeface="Calibri" panose="020F0502020204030204" pitchFamily="34" charset="0"/>
              </a:rPr>
              <a:t> der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Kommunikatio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zwisch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Verteilt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Systemen</a:t>
            </a:r>
            <a:r>
              <a:rPr lang="en-GB" sz="1800" dirty="0">
                <a:effectLst/>
                <a:latin typeface="Calibri" panose="020F0502020204030204" pitchFamily="34" charset="0"/>
              </a:rPr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Dies tun wir am Beispiel einer Microserviceumgebung, um die Konzepte des Nachrichtenaustausches zu verstehen, da dort die relevante Daten drin stehen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sz="1800" dirty="0">
                <a:effectLst/>
                <a:latin typeface="Calibri" panose="020F0502020204030204" pitchFamily="34" charset="0"/>
              </a:rPr>
              <a:t>In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diesem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rot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Rahm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erd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ir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uns</a:t>
            </a:r>
            <a:r>
              <a:rPr lang="en-GB" sz="1800" dirty="0">
                <a:effectLst/>
                <a:latin typeface="Calibri" panose="020F0502020204030204" pitchFamily="34" charset="0"/>
              </a:rPr>
              <a:t> also die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Kommunikation</a:t>
            </a:r>
            <a:r>
              <a:rPr lang="en-GB" sz="1800" dirty="0">
                <a:effectLst/>
                <a:latin typeface="Calibri" panose="020F0502020204030204" pitchFamily="34" charset="0"/>
              </a:rPr>
              <a:t> in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Verteilt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System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anschauen</a:t>
            </a:r>
            <a:r>
              <a:rPr lang="en-GB" sz="1800" dirty="0">
                <a:effectLst/>
                <a:latin typeface="Calibri" panose="020F0502020204030204" pitchFamily="34" charset="0"/>
              </a:rPr>
              <a:t>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sz="1800" dirty="0" err="1">
                <a:effectLst/>
                <a:latin typeface="Calibri" panose="020F0502020204030204" pitchFamily="34" charset="0"/>
              </a:rPr>
              <a:t>Dafür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müss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ir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aber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zunächst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einmal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wissen</a:t>
            </a:r>
            <a:r>
              <a:rPr lang="en-GB" sz="1800" dirty="0">
                <a:effectLst/>
                <a:latin typeface="Calibri" panose="020F0502020204030204" pitchFamily="34" charset="0"/>
              </a:rPr>
              <a:t> was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überhaupt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ein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Verteiltes</a:t>
            </a:r>
            <a:r>
              <a:rPr lang="en-GB" sz="1800" dirty="0">
                <a:effectLst/>
                <a:latin typeface="Calibri" panose="020F0502020204030204" pitchFamily="34" charset="0"/>
              </a:rPr>
              <a:t> System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ist</a:t>
            </a:r>
            <a:r>
              <a:rPr lang="en-GB" sz="1800" dirty="0">
                <a:effectLst/>
                <a:latin typeface="Calibri" panose="020F0502020204030204" pitchFamily="34" charset="0"/>
              </a:rPr>
              <a:t>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9335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Ein </a:t>
            </a:r>
            <a:r>
              <a:rPr lang="en-GB" dirty="0" err="1"/>
              <a:t>verteiltes</a:t>
            </a:r>
            <a:r>
              <a:rPr lang="en-GB" dirty="0"/>
              <a:t> System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laut</a:t>
            </a:r>
            <a:r>
              <a:rPr lang="en-GB" dirty="0"/>
              <a:t> George </a:t>
            </a:r>
            <a:r>
              <a:rPr lang="en-GB" dirty="0" err="1"/>
              <a:t>Coulouris</a:t>
            </a:r>
            <a:r>
              <a:rPr lang="en-GB" dirty="0"/>
              <a:t> </a:t>
            </a:r>
            <a:r>
              <a:rPr lang="de-DE" dirty="0"/>
              <a:t>ein System, in dem Hardware- oder Softwarekomponenten die sich auf vernetzten Computern befinden, ihre Aktionen nur über die Weitergabe von Nachrichten kommunizieren und koordinieren.</a:t>
            </a:r>
          </a:p>
          <a:p>
            <a:r>
              <a:rPr lang="de-DE" dirty="0"/>
              <a:t>Schauen wir uns also anhand eines Beispiels an, wie so ein System aussehen kann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2791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 ist noch ein relativ einfaches verteiltes </a:t>
            </a:r>
            <a:r>
              <a:rPr lang="de-DE" dirty="0" err="1"/>
              <a:t>system</a:t>
            </a:r>
            <a:r>
              <a:rPr lang="de-DE" dirty="0"/>
              <a:t> da es nur mit wenigen Komponenten interagiert</a:t>
            </a:r>
          </a:p>
          <a:p>
            <a:r>
              <a:rPr lang="de-DE" dirty="0"/>
              <a:t>Der Level 1 übermittelt asynchron daten an </a:t>
            </a:r>
            <a:r>
              <a:rPr lang="de-DE" dirty="0" err="1"/>
              <a:t>ActiveMQ</a:t>
            </a:r>
            <a:endParaRPr lang="de-DE" dirty="0"/>
          </a:p>
          <a:p>
            <a:r>
              <a:rPr lang="de-DE" dirty="0"/>
              <a:t>Der </a:t>
            </a:r>
            <a:r>
              <a:rPr lang="de-DE" dirty="0" err="1"/>
              <a:t>ActiveMQ</a:t>
            </a:r>
            <a:r>
              <a:rPr lang="de-DE" dirty="0"/>
              <a:t> gibt diese dann auch asynchron an </a:t>
            </a:r>
            <a:r>
              <a:rPr lang="de-DE" dirty="0" err="1"/>
              <a:t>AlarmIT</a:t>
            </a:r>
            <a:r>
              <a:rPr lang="de-DE" dirty="0"/>
              <a:t> weiter</a:t>
            </a:r>
          </a:p>
          <a:p>
            <a:r>
              <a:rPr lang="de-DE" dirty="0"/>
              <a:t>Nun kann </a:t>
            </a:r>
            <a:r>
              <a:rPr lang="de-DE" dirty="0" err="1"/>
              <a:t>AlarmIT</a:t>
            </a:r>
            <a:r>
              <a:rPr lang="de-DE" dirty="0"/>
              <a:t> diese in der Datenbank </a:t>
            </a:r>
            <a:r>
              <a:rPr lang="de-DE" dirty="0" err="1"/>
              <a:t>speicher</a:t>
            </a:r>
            <a:endParaRPr lang="de-DE" dirty="0"/>
          </a:p>
          <a:p>
            <a:r>
              <a:rPr lang="de-DE" dirty="0"/>
              <a:t>Zusätzlich besitz </a:t>
            </a:r>
            <a:r>
              <a:rPr lang="de-DE" dirty="0" err="1"/>
              <a:t>AlarmIT</a:t>
            </a:r>
            <a:r>
              <a:rPr lang="de-DE" dirty="0"/>
              <a:t> auch ein Web GUI über die die Anwendung synchron gesteuert werden kann.</a:t>
            </a:r>
          </a:p>
          <a:p>
            <a:r>
              <a:rPr lang="de-DE" dirty="0"/>
              <a:t>Soweit so einfach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9292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m </a:t>
            </a:r>
            <a:r>
              <a:rPr lang="en-GB" dirty="0" err="1"/>
              <a:t>abzugrenzen</a:t>
            </a:r>
            <a:r>
              <a:rPr lang="en-GB" dirty="0"/>
              <a:t>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Anwendungen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AlarmIT</a:t>
            </a:r>
            <a:r>
              <a:rPr lang="en-GB" dirty="0"/>
              <a:t> </a:t>
            </a:r>
            <a:r>
              <a:rPr lang="en-GB" dirty="0" err="1"/>
              <a:t>gehören</a:t>
            </a:r>
            <a:r>
              <a:rPr lang="en-GB" dirty="0"/>
              <a:t> um </a:t>
            </a:r>
            <a:r>
              <a:rPr lang="en-GB" dirty="0" err="1"/>
              <a:t>ein</a:t>
            </a:r>
            <a:r>
              <a:rPr lang="en-GB" dirty="0"/>
              <a:t> Self Sustained System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bekomm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die </a:t>
            </a:r>
            <a:r>
              <a:rPr lang="en-GB" dirty="0" err="1"/>
              <a:t>Komponenten</a:t>
            </a:r>
            <a:r>
              <a:rPr lang="en-GB" dirty="0"/>
              <a:t> </a:t>
            </a:r>
            <a:r>
              <a:rPr lang="en-GB" dirty="0" err="1"/>
              <a:t>noch</a:t>
            </a:r>
            <a:r>
              <a:rPr lang="en-GB" dirty="0"/>
              <a:t> in </a:t>
            </a:r>
            <a:r>
              <a:rPr lang="en-GB" dirty="0" err="1"/>
              <a:t>einen</a:t>
            </a:r>
            <a:r>
              <a:rPr lang="en-GB" dirty="0"/>
              <a:t> Docker Stack </a:t>
            </a:r>
            <a:r>
              <a:rPr lang="en-GB" dirty="0" err="1"/>
              <a:t>verpackt</a:t>
            </a:r>
            <a:r>
              <a:rPr lang="en-GB" dirty="0"/>
              <a:t>.</a:t>
            </a:r>
          </a:p>
          <a:p>
            <a:r>
              <a:rPr lang="en-GB" dirty="0"/>
              <a:t>Was die </a:t>
            </a:r>
            <a:r>
              <a:rPr lang="en-GB" dirty="0" err="1"/>
              <a:t>Vorteile</a:t>
            </a:r>
            <a:r>
              <a:rPr lang="en-GB" dirty="0"/>
              <a:t> </a:t>
            </a:r>
            <a:r>
              <a:rPr lang="en-GB" dirty="0" err="1"/>
              <a:t>davon</a:t>
            </a:r>
            <a:r>
              <a:rPr lang="en-GB" dirty="0"/>
              <a:t> </a:t>
            </a:r>
            <a:r>
              <a:rPr lang="en-GB" dirty="0" err="1"/>
              <a:t>sind</a:t>
            </a:r>
            <a:r>
              <a:rPr lang="en-GB" dirty="0"/>
              <a:t> </a:t>
            </a:r>
            <a:r>
              <a:rPr lang="en-GB" dirty="0" err="1"/>
              <a:t>wird</a:t>
            </a:r>
            <a:r>
              <a:rPr lang="en-GB" dirty="0"/>
              <a:t> </a:t>
            </a:r>
            <a:r>
              <a:rPr lang="en-GB" dirty="0" err="1"/>
              <a:t>ihnen</a:t>
            </a:r>
            <a:r>
              <a:rPr lang="en-GB" dirty="0"/>
              <a:t> </a:t>
            </a:r>
            <a:r>
              <a:rPr lang="en-GB" dirty="0" err="1"/>
              <a:t>mein</a:t>
            </a:r>
            <a:r>
              <a:rPr lang="en-GB" dirty="0"/>
              <a:t> </a:t>
            </a:r>
            <a:r>
              <a:rPr lang="en-GB" dirty="0" err="1"/>
              <a:t>Kollege</a:t>
            </a:r>
            <a:r>
              <a:rPr lang="en-GB" dirty="0"/>
              <a:t> Jean-Maurice </a:t>
            </a:r>
            <a:r>
              <a:rPr lang="en-GB" dirty="0" err="1"/>
              <a:t>Boussonville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nachfolgenden</a:t>
            </a:r>
            <a:r>
              <a:rPr lang="en-GB" dirty="0"/>
              <a:t> </a:t>
            </a:r>
            <a:r>
              <a:rPr lang="en-GB" dirty="0" err="1"/>
              <a:t>Termin</a:t>
            </a:r>
            <a:r>
              <a:rPr lang="en-GB" dirty="0"/>
              <a:t> </a:t>
            </a:r>
            <a:r>
              <a:rPr lang="en-GB" dirty="0" err="1"/>
              <a:t>erläutern</a:t>
            </a:r>
            <a:r>
              <a:rPr lang="en-GB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230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un besitzt </a:t>
            </a:r>
            <a:r>
              <a:rPr lang="de-DE" dirty="0" err="1"/>
              <a:t>AlarmIT</a:t>
            </a:r>
            <a:r>
              <a:rPr lang="de-DE" dirty="0"/>
              <a:t> noch eine besondere </a:t>
            </a:r>
            <a:r>
              <a:rPr lang="de-DE" dirty="0" err="1"/>
              <a:t>eigenschaft</a:t>
            </a:r>
            <a:r>
              <a:rPr lang="de-DE" dirty="0"/>
              <a:t>:</a:t>
            </a:r>
          </a:p>
          <a:p>
            <a:r>
              <a:rPr lang="de-DE" dirty="0"/>
              <a:t>Es verwendet Zero Downtime </a:t>
            </a:r>
            <a:r>
              <a:rPr lang="de-DE" dirty="0" err="1"/>
              <a:t>deployment</a:t>
            </a:r>
            <a:endParaRPr lang="de-DE" dirty="0"/>
          </a:p>
          <a:p>
            <a:r>
              <a:rPr lang="de-DE" dirty="0"/>
              <a:t>Dies ermöglich das updaten der Anwendung ohne Unterbrechungen</a:t>
            </a:r>
          </a:p>
          <a:p>
            <a:r>
              <a:rPr lang="de-DE" dirty="0"/>
              <a:t>Hierfür muss die Anwendung in zwei </a:t>
            </a:r>
            <a:r>
              <a:rPr lang="de-DE" dirty="0" err="1"/>
              <a:t>instanzen</a:t>
            </a:r>
            <a:r>
              <a:rPr lang="de-DE" dirty="0"/>
              <a:t> laufen damit während eine geupdatet wird, die andere noch in betrieb ist</a:t>
            </a:r>
          </a:p>
          <a:p>
            <a:r>
              <a:rPr lang="de-DE" dirty="0"/>
              <a:t>Doch dies wirft eine Frage auf: Wie wird die Kommunikation in so einem fall geregel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60008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shalb werden wir uns in diesem Workshop anschauen welche </a:t>
            </a:r>
            <a:r>
              <a:rPr lang="de-DE" dirty="0" err="1"/>
              <a:t>Kommunikationarten</a:t>
            </a:r>
            <a:r>
              <a:rPr lang="de-DE" dirty="0"/>
              <a:t> es gibt und wie sich diese verhal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0037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unächst müssen wir allerdings erstmal unsere Umgebung vorber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1661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Hintergrund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965DD35-5C85-6648-9C88-0D668666637A}"/>
              </a:ext>
            </a:extLst>
          </p:cNvPr>
          <p:cNvSpPr/>
          <p:nvPr userDrawn="1"/>
        </p:nvSpPr>
        <p:spPr>
          <a:xfrm>
            <a:off x="0" y="408994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6" y="0"/>
            <a:ext cx="914278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873" y="420856"/>
            <a:ext cx="2008708" cy="53268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500" y="517181"/>
            <a:ext cx="2285359" cy="325320"/>
          </a:xfrm>
          <a:prstGeom prst="rect">
            <a:avLst/>
          </a:prstGeom>
        </p:spPr>
      </p:pic>
      <p:sp>
        <p:nvSpPr>
          <p:cNvPr id="21" name="Textplatzhalter 41">
            <a:extLst>
              <a:ext uri="{FF2B5EF4-FFF2-40B4-BE49-F238E27FC236}">
                <a16:creationId xmlns:a16="http://schemas.microsoft.com/office/drawing/2014/main" id="{1ED3004E-4F4C-5B4F-A4BF-82D42CBA6C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2679" y="1725555"/>
            <a:ext cx="5770930" cy="37702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CA834713-C1E5-0D46-8CD8-530742F6A3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2679" y="2186519"/>
            <a:ext cx="577093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Vorstellung bei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am 01.02.2020</a:t>
            </a:r>
          </a:p>
        </p:txBody>
      </p:sp>
      <p:pic>
        <p:nvPicPr>
          <p:cNvPr id="2" name="Picture 2" descr="G:\Mafos\Huffer\BHu2020\gemeinsames Template PPT\final\Logos\SHS - Stahl-Holding-Saar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9903" y="976922"/>
            <a:ext cx="3703910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911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2x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DB23B1A-9187-4AC2-A6E8-256A7CA6F393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2" name="Textplatzhalter 46">
            <a:extLst>
              <a:ext uri="{FF2B5EF4-FFF2-40B4-BE49-F238E27FC236}">
                <a16:creationId xmlns:a16="http://schemas.microsoft.com/office/drawing/2014/main" id="{D670A6B9-486E-DE47-8A3F-9760FB548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0" y="2821500"/>
            <a:ext cx="5689722" cy="272816"/>
          </a:xfrm>
          <a:prstGeom prst="rect">
            <a:avLst/>
          </a:prstGeom>
        </p:spPr>
        <p:txBody>
          <a:bodyPr wrap="square" lIns="68580" tIns="34290" rIns="68580" bIns="34290" numCol="2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69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(4x)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78487" y="756000"/>
            <a:ext cx="2041513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A493B6-C0AD-49FB-AEAE-DFD93FEC1EA3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244B6997-5877-D245-B666-400CC0BB69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E96D37C8-BAE9-E244-854C-09E43E5504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82F7F0E5-A895-8140-8EB0-24D12AFEBF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3" name="Textplatzhalter 46">
            <a:extLst>
              <a:ext uri="{FF2B5EF4-FFF2-40B4-BE49-F238E27FC236}">
                <a16:creationId xmlns:a16="http://schemas.microsoft.com/office/drawing/2014/main" id="{3AA57C1A-C2FA-B344-AF54-03374595061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4" name="Textplatzhalter 41">
            <a:extLst>
              <a:ext uri="{FF2B5EF4-FFF2-40B4-BE49-F238E27FC236}">
                <a16:creationId xmlns:a16="http://schemas.microsoft.com/office/drawing/2014/main" id="{2525E463-BF65-0841-8751-A9232DB203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5" name="Textplatzhalter 46">
            <a:extLst>
              <a:ext uri="{FF2B5EF4-FFF2-40B4-BE49-F238E27FC236}">
                <a16:creationId xmlns:a16="http://schemas.microsoft.com/office/drawing/2014/main" id="{7700D6C6-2C9C-5440-AE8F-A04BC73D3B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93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0216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904B3CD-E2B2-4C2D-A136-AD33C9D4D7F8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93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x 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8C6B73E-2377-4D37-834F-82F854251A1A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8" name="Textplatzhalter 41">
            <a:extLst>
              <a:ext uri="{FF2B5EF4-FFF2-40B4-BE49-F238E27FC236}">
                <a16:creationId xmlns:a16="http://schemas.microsoft.com/office/drawing/2014/main" id="{BDA40EE1-F184-D443-8CF7-48E0718B44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0215" y="697889"/>
            <a:ext cx="270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9" name="Textplatzhalter 46">
            <a:extLst>
              <a:ext uri="{FF2B5EF4-FFF2-40B4-BE49-F238E27FC236}">
                <a16:creationId xmlns:a16="http://schemas.microsoft.com/office/drawing/2014/main" id="{726F3A1F-4DA0-3D4D-9D75-5738C114E7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30214" y="1107001"/>
            <a:ext cx="270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EBCFAD3D-DD28-0949-89D5-5330F79D3A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3215" y="697889"/>
            <a:ext cx="266517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41D21E79-37E7-F543-948B-D70F6DFE84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3214" y="1107001"/>
            <a:ext cx="266517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3686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348119"/>
            <a:ext cx="8475174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59BCDE9-D454-4ABF-8A21-98EC818B1C6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1714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F6D2D9-B26A-4B4B-8DEB-E3F0C9E6586D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D46A23EF-49AD-4143-8C16-8A03848EED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35018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850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F2D43E2-33BF-41E2-8988-8978FB7BE6F8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Textplatzhalter 41">
            <a:extLst>
              <a:ext uri="{FF2B5EF4-FFF2-40B4-BE49-F238E27FC236}">
                <a16:creationId xmlns:a16="http://schemas.microsoft.com/office/drawing/2014/main" id="{3BF519DD-192B-1C48-AD5D-6D1A16DB2C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488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46">
            <a:extLst>
              <a:ext uri="{FF2B5EF4-FFF2-40B4-BE49-F238E27FC236}">
                <a16:creationId xmlns:a16="http://schemas.microsoft.com/office/drawing/2014/main" id="{640D9BEE-04AF-0A40-8593-1AC0308866C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0487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934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 (4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2F0AE24-04D3-4F60-9ADA-A27FD34B1EA1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Textplatzhalter 41">
            <a:extLst>
              <a:ext uri="{FF2B5EF4-FFF2-40B4-BE49-F238E27FC236}">
                <a16:creationId xmlns:a16="http://schemas.microsoft.com/office/drawing/2014/main" id="{B7F01550-C20C-7647-B4A5-C2D997D8D1C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4001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1">
            <a:extLst>
              <a:ext uri="{FF2B5EF4-FFF2-40B4-BE49-F238E27FC236}">
                <a16:creationId xmlns:a16="http://schemas.microsoft.com/office/drawing/2014/main" id="{88CA1FB5-9790-3A4C-945F-5A527D0D2EC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87340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6D448B81-7038-3F4E-AE17-EDEC03D4AE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87340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41">
            <a:extLst>
              <a:ext uri="{FF2B5EF4-FFF2-40B4-BE49-F238E27FC236}">
                <a16:creationId xmlns:a16="http://schemas.microsoft.com/office/drawing/2014/main" id="{D4EB633E-B64F-D84F-A14B-AA243AE51A2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4001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4" name="Textplatzhalter 41">
            <a:extLst>
              <a:ext uri="{FF2B5EF4-FFF2-40B4-BE49-F238E27FC236}">
                <a16:creationId xmlns:a16="http://schemas.microsoft.com/office/drawing/2014/main" id="{6A0E17F6-BC74-3249-82A3-4BC272D99A7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34001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Textplatzhalter 41">
            <a:extLst>
              <a:ext uri="{FF2B5EF4-FFF2-40B4-BE49-F238E27FC236}">
                <a16:creationId xmlns:a16="http://schemas.microsoft.com/office/drawing/2014/main" id="{F75F5F66-3DE8-B94F-B78B-16A952BD0B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340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6" name="Textplatzhalter 41">
            <a:extLst>
              <a:ext uri="{FF2B5EF4-FFF2-40B4-BE49-F238E27FC236}">
                <a16:creationId xmlns:a16="http://schemas.microsoft.com/office/drawing/2014/main" id="{7A90A033-0D31-DE43-8923-A2F7D810AA8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87340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8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rechts mit Headline und schmales Bild links sowie 3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EE36181-0326-44FE-B68A-1FC7A46D2DC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824E80C9-A3DB-524F-84FB-D698676E90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0216" y="3265004"/>
            <a:ext cx="1258200" cy="12582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CBC08E7-DE1D-334B-8927-4925C7971A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96006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17">
            <a:extLst>
              <a:ext uri="{FF2B5EF4-FFF2-40B4-BE49-F238E27FC236}">
                <a16:creationId xmlns:a16="http://schemas.microsoft.com/office/drawing/2014/main" id="{8A61D413-D433-D143-8EEC-86EFCF56E60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61798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41">
            <a:extLst>
              <a:ext uri="{FF2B5EF4-FFF2-40B4-BE49-F238E27FC236}">
                <a16:creationId xmlns:a16="http://schemas.microsoft.com/office/drawing/2014/main" id="{E183786A-8CAB-DA4F-988A-B14D7D588D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4" name="Textplatzhalter 46">
            <a:extLst>
              <a:ext uri="{FF2B5EF4-FFF2-40B4-BE49-F238E27FC236}">
                <a16:creationId xmlns:a16="http://schemas.microsoft.com/office/drawing/2014/main" id="{D04280F3-04C2-294B-9266-68E7C4083C5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0215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1660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802C932-8694-4D47-8036-E73AF92D3C8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94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rift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1">
            <a:extLst>
              <a:ext uri="{FF2B5EF4-FFF2-40B4-BE49-F238E27FC236}">
                <a16:creationId xmlns:a16="http://schemas.microsoft.com/office/drawing/2014/main" id="{9131D5EE-EDDD-7446-BC0A-DA34F4CF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5" name="Textplatzhalter 46">
            <a:extLst>
              <a:ext uri="{FF2B5EF4-FFF2-40B4-BE49-F238E27FC236}">
                <a16:creationId xmlns:a16="http://schemas.microsoft.com/office/drawing/2014/main" id="{6596D7CA-90B9-5741-8B75-5B30C2B472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00" y="1107000"/>
            <a:ext cx="4338000" cy="72327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ür den Fließtext sollte Arial Regular verwendet werden. Einzelne Wörter könnte mit dem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old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Schnitt hervorgehoben werden.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6A974882-8A0E-0645-954D-237E02319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019601"/>
            <a:ext cx="4338000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iftungen, Zusatzinfos in Arial Regular 13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A91D8C-755B-F94C-80E5-2887549C0D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001" y="2457000"/>
            <a:ext cx="3963053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="0" i="1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ildunterschriften in Arial 13 Pt Italic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AF4A1D2-26AF-FC4D-B0D2-7105CB9BA4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4BD51A52-3A93-1846-B1A9-87A8E620C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41848F-6705-EE49-9E7A-C4D2785602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209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522FE2C-A6D9-4590-A1CE-B501E99953F5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103C06DB-B92D-8947-94AE-25D97867E4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Bildplatzhalter 17">
            <a:extLst>
              <a:ext uri="{FF2B5EF4-FFF2-40B4-BE49-F238E27FC236}">
                <a16:creationId xmlns:a16="http://schemas.microsoft.com/office/drawing/2014/main" id="{CFEB8F0C-2273-2C43-9B92-917DFCF985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DD43913-640C-3043-A294-ECBA6509C5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B7E8813-1095-E848-A02E-2AF1DF6FF5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2679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 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B1A39E2-7EE3-42EC-8CB1-72ADC3F9EF04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28239" y="697889"/>
            <a:ext cx="1306800" cy="13068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28238" y="3290459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55624" y="1983508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41">
            <a:extLst>
              <a:ext uri="{FF2B5EF4-FFF2-40B4-BE49-F238E27FC236}">
                <a16:creationId xmlns:a16="http://schemas.microsoft.com/office/drawing/2014/main" id="{3584CA94-D8F3-424A-8BA3-C3723D077D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0" name="Textplatzhalter 46">
            <a:extLst>
              <a:ext uri="{FF2B5EF4-FFF2-40B4-BE49-F238E27FC236}">
                <a16:creationId xmlns:a16="http://schemas.microsoft.com/office/drawing/2014/main" id="{1D940F45-0317-C54E-BE59-F05322F1E0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1" name="Textplatzhalter 41">
            <a:extLst>
              <a:ext uri="{FF2B5EF4-FFF2-40B4-BE49-F238E27FC236}">
                <a16:creationId xmlns:a16="http://schemas.microsoft.com/office/drawing/2014/main" id="{351E19C5-C977-6347-AC3C-C309E37FA5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2" name="Textplatzhalter 46">
            <a:extLst>
              <a:ext uri="{FF2B5EF4-FFF2-40B4-BE49-F238E27FC236}">
                <a16:creationId xmlns:a16="http://schemas.microsoft.com/office/drawing/2014/main" id="{D95344A5-905C-3A4B-9D18-E2DFCFFA65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3" name="Textplatzhalter 41">
            <a:extLst>
              <a:ext uri="{FF2B5EF4-FFF2-40B4-BE49-F238E27FC236}">
                <a16:creationId xmlns:a16="http://schemas.microsoft.com/office/drawing/2014/main" id="{A612BE07-BF0F-AF40-AB82-C324E81F44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4" name="Textplatzhalter 46">
            <a:extLst>
              <a:ext uri="{FF2B5EF4-FFF2-40B4-BE49-F238E27FC236}">
                <a16:creationId xmlns:a16="http://schemas.microsoft.com/office/drawing/2014/main" id="{341DF4E6-9F90-4043-831F-9895DFAAF8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5" name="Textplatzhalter 41">
            <a:extLst>
              <a:ext uri="{FF2B5EF4-FFF2-40B4-BE49-F238E27FC236}">
                <a16:creationId xmlns:a16="http://schemas.microsoft.com/office/drawing/2014/main" id="{74063FEC-123E-0143-ACF6-201BF1039C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6" name="Textplatzhalter 46">
            <a:extLst>
              <a:ext uri="{FF2B5EF4-FFF2-40B4-BE49-F238E27FC236}">
                <a16:creationId xmlns:a16="http://schemas.microsoft.com/office/drawing/2014/main" id="{619260E3-1648-8C45-AD55-B42BDA6F9AA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4404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BDBC1C1-45EC-EA45-A0DF-91D0DBE438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8821930C-43CC-8A44-8B0E-1684FD1CF9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1EF6939E-4C9D-2948-BE1E-B47B0A020E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9E39D914-F7C0-F94C-A3DB-7D3F6BB9A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A2195BD5-5EE7-B649-A11F-43406C2A0E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8BEE4029-55CA-224A-80C7-F201376827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CC61BB28-8322-234E-A0E5-AE63A9CC11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963BBE3D-2917-134F-85EA-31D8A020ADB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9DCB0DC2-8F10-AA44-B217-84A1A87F8D75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51813C27-D7C3-A747-82AC-539DC170DD9B}"/>
              </a:ext>
            </a:extLst>
          </p:cNvPr>
          <p:cNvSpPr/>
          <p:nvPr userDrawn="1"/>
        </p:nvSpPr>
        <p:spPr>
          <a:xfrm>
            <a:off x="6385396" y="667650"/>
            <a:ext cx="1144800" cy="3825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F51E064-505C-5C41-9875-BF2A95F87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0714E8-273B-834B-A349-EB82F282E40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2FC5787-D3CC-4D24-A6E3-B654BBD1545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5D201FA-99CA-064A-BB31-752DB913EAD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76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DBD7744-0BA1-A241-9516-9A949817F0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5CE355D7-C98F-0444-B4F5-1BD2ADB84A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D1B0A502-31CF-424E-B34E-B5F45FFB4F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CB31FB19-3D8D-7240-AB89-DD90E4CD0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E32D786E-E8E1-BF44-A744-5ECBF0BD4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6434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E00B0F9C-41D8-214F-8B71-B2A32C8B23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4B15A24A-C794-EE44-A997-8D4311BF0E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47CB4349-A7A0-4243-8BB7-5886799D3D1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5B3D3A9C-C9B8-F243-A394-22DD415E5E1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16434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D0C05AB7-B83D-FF4F-8385-5E916E6543A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0D5C5DF9-E87A-4743-AE43-3CB5E49A9AF1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6C42193E-BE06-9444-8657-ACBCFAC6602C}"/>
              </a:ext>
            </a:extLst>
          </p:cNvPr>
          <p:cNvCxnSpPr>
            <a:cxnSpLocks/>
          </p:cNvCxnSpPr>
          <p:nvPr userDrawn="1"/>
        </p:nvCxnSpPr>
        <p:spPr>
          <a:xfrm>
            <a:off x="6387693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5830EC9D-B23A-354A-A125-C96275519602}"/>
              </a:ext>
            </a:extLst>
          </p:cNvPr>
          <p:cNvSpPr/>
          <p:nvPr userDrawn="1"/>
        </p:nvSpPr>
        <p:spPr>
          <a:xfrm>
            <a:off x="7542000" y="667652"/>
            <a:ext cx="1144800" cy="35709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13009F2-269E-9A49-A7DB-FA7AF60F5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EB2A64-1DFE-3E48-87FC-3446F10EEA4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7FE8F99-BF54-414D-A3A4-1FE3CA29B8C5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AA23D38-7865-3242-A973-4A6C5CEB08B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9114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638839"/>
            <a:ext cx="8475174" cy="188366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FC3921D-598D-4DEE-9314-C280C5FEF300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859BD2D0-FE99-484C-9512-F61A20DD6D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8AA30D-860F-524D-BD9D-8EEA260FB9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FDBBBAD-E4DB-074E-8202-E882B1A80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71845CA-8539-7B44-BFEE-7BDD043E29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09201604-8CCD-2241-AF82-0BD241F71F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A09764BC-0587-434E-B5CE-EA21F18F30C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573BDEF-DB66-1B45-90C7-F699C97BE2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C5085A8F-2E53-E64E-B011-5911C9011649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C910D65-1331-9B47-A939-98507AB8ACEB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47F5DF88-232A-0742-8004-5B4EC5BD85BB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912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2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EE87DF2-97F1-4A98-89F4-0A565A96BBE4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BEBBCD9-8FCB-E046-A246-EC32BE77CF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2D35EB1-27E8-DC49-B6C8-61A109F8BB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5018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15D22172-3F21-D640-95B1-6800E10825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97664D98-4E6B-E04B-99A0-DF069CBECA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B0CF7D24-408C-4C44-A843-C25F719BE9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FC920A69-EEA3-7741-B8AE-8AF321A1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6498FB1A-6271-724D-B340-1C3F7AF45E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6A7C5161-DD30-3D47-9A2F-BE63CCE025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66874484-A4A6-5541-A959-16D608F5B16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57D06E09-8B95-E94D-B86E-1B1D20E424BD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0BA941EE-4736-0749-A894-E3E7F38C9982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D98BF498-A115-F241-9130-265ECDD209CE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886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1BAA764-3F5F-444C-8161-F87A472F81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C6572A00-3C63-D74B-A284-800CCB83D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1247FDAF-1059-452B-A4FA-AC0A95C3AC7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33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3" y="697888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699585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BB13D4F-F7F7-AE4C-94F6-0EB807A5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72EAEB-F451-F64F-AC4A-322458B8156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DB813F1-33A0-4D4E-87AF-EB69B557B9D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D6303A5-7D1B-DD44-AB88-C7C004758E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7593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5" y="1067668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1069364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41">
            <a:extLst>
              <a:ext uri="{FF2B5EF4-FFF2-40B4-BE49-F238E27FC236}">
                <a16:creationId xmlns:a16="http://schemas.microsoft.com/office/drawing/2014/main" id="{C6D85155-18EA-7341-9BEC-D904CF6BA4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B197DF9F-CEB1-0044-93CC-79BD6E3399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6446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0CB323F-AA59-554D-9DAE-122B6DE5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E9E7D-70C7-F74F-B14D-F8A710D3962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9396A89-394F-4BFD-A33E-ED7AC701A9EA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58ECAB0-3A66-A04E-B5D2-7DF5E51B4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8972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61B82BF-CF04-5842-AA0B-75B999CBC56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64" y="694135"/>
            <a:ext cx="8586787" cy="3794522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DE9450B-CEFA-784B-A0D8-6B928111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7F337C-7AEC-2D47-88CF-1503680FF5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07815C9-6D4B-42D1-9120-5557FAD46A0C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38DDBE5-A816-4245-92AE-5F10BEAC8C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1563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mit Headline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2DCE2A8-B364-4B6D-B82B-40BD3869BAE8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6538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171584-8549-427D-8281-AC5E9F4029DF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395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3997E8E-26A6-2541-9505-434E77245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4638" cy="47466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E8E0409A-B122-CB40-A2F1-E1AFC97AA051}"/>
              </a:ext>
            </a:extLst>
          </p:cNvPr>
          <p:cNvSpPr/>
          <p:nvPr userDrawn="1"/>
        </p:nvSpPr>
        <p:spPr>
          <a:xfrm>
            <a:off x="1489311" y="1653526"/>
            <a:ext cx="6165378" cy="1147970"/>
          </a:xfrm>
          <a:prstGeom prst="rect">
            <a:avLst/>
          </a:prstGeom>
          <a:solidFill>
            <a:srgbClr val="C6C6C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4"/>
            <a:ext cx="5770930" cy="68480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0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260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di32691\AppData\Local\Microsoft\Windows\Temporary Internet Files\Content.Outlook\NLLES5G7\Schlussfolie JPK farbe (4)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9144001" cy="477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70456" y="1085083"/>
            <a:ext cx="5770930" cy="108491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3300" smtClean="0">
                <a:solidFill>
                  <a:schemeClr val="bg1"/>
                </a:solidFill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r>
              <a:rPr lang="de-DE" dirty="0">
                <a:effectLst/>
                <a:latin typeface="Helvetica" pitchFamily="2" charset="0"/>
              </a:rPr>
              <a:t> 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2293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3758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1996E722-1E54-2440-9E56-46E68CEC5D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5"/>
            <a:ext cx="5770930" cy="77713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3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705301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EC861C-3A26-4872-9641-990BBEB07C8D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0" name="Textplatzhalter 46">
            <a:extLst>
              <a:ext uri="{FF2B5EF4-FFF2-40B4-BE49-F238E27FC236}">
                <a16:creationId xmlns:a16="http://schemas.microsoft.com/office/drawing/2014/main" id="{F5B8D23F-40DC-4641-9B73-36B1167EEF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058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E999999-6EB5-48ED-9AE9-22C113A6BD0A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6" name="Textplatzhalter 41">
            <a:extLst>
              <a:ext uri="{FF2B5EF4-FFF2-40B4-BE49-F238E27FC236}">
                <a16:creationId xmlns:a16="http://schemas.microsoft.com/office/drawing/2014/main" id="{E312BF74-A897-DD4A-A186-96623098FF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1004" y="697888"/>
            <a:ext cx="414899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DF4C2467-6510-734D-A856-78639A05BE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2" y="1107001"/>
            <a:ext cx="414899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249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BB70FC-68C5-4D4E-BCBA-6FAB730D8949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272AC951-DB9B-2745-88ED-D7443ECFF7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3" y="659470"/>
            <a:ext cx="4148998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183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210179F-CD6B-5E47-B231-9937064E8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102512-8A48-F245-A013-DDF98EEB725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8AE4F14-8A05-4228-9389-6559A886F105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249361-0ED7-504A-8A0A-F6599FA22BC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41">
            <a:extLst>
              <a:ext uri="{FF2B5EF4-FFF2-40B4-BE49-F238E27FC236}">
                <a16:creationId xmlns:a16="http://schemas.microsoft.com/office/drawing/2014/main" id="{BF4C4A9B-31B2-6B4D-93F9-91721DC57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2464" y="697888"/>
            <a:ext cx="414753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59DE3DE6-FF4F-0D48-BFF6-C9144DD86C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2463" y="1107001"/>
            <a:ext cx="414753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648B889-78EE-5142-B5AF-BA4FA5D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FBF41EA9-E686-D544-9338-A5BB199901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2398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6">
            <a:extLst>
              <a:ext uri="{FF2B5EF4-FFF2-40B4-BE49-F238E27FC236}">
                <a16:creationId xmlns:a16="http://schemas.microsoft.com/office/drawing/2014/main" id="{8AA97777-B5EE-FE43-9DA0-D9F86D223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812" y="664201"/>
            <a:ext cx="425522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7" name="Titel 30">
            <a:extLst>
              <a:ext uri="{FF2B5EF4-FFF2-40B4-BE49-F238E27FC236}">
                <a16:creationId xmlns:a16="http://schemas.microsoft.com/office/drawing/2014/main" id="{C8BDF212-FBF0-F445-A717-CF7F0F526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600034" cy="3154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600" b="1" i="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DDBF92-33DD-034E-B9AC-DF00D1DD0A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A0FD884-5FA7-4586-98D5-450AD5274F6B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2F8B2C1-AC44-FB45-AFEB-1008D07F14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032F96D1-DCEC-C44F-B9A2-69F76279DB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3E1EF14C-3C71-6642-B806-C000E8E1F9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31726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15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E73BE5B-6839-400E-8096-642BB331A383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139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633492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338" imgH="344" progId="TCLayout.ActiveDocument.1">
                  <p:embed/>
                </p:oleObj>
              </mc:Choice>
              <mc:Fallback>
                <p:oleObj name="think-cell Folie" r:id="rId36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CF89B9E-1CF2-2941-95FC-27FD76213E11}"/>
              </a:ext>
            </a:extLst>
          </p:cNvPr>
          <p:cNvCxnSpPr>
            <a:cxnSpLocks/>
          </p:cNvCxnSpPr>
          <p:nvPr/>
        </p:nvCxnSpPr>
        <p:spPr>
          <a:xfrm>
            <a:off x="0" y="459000"/>
            <a:ext cx="8820000" cy="0"/>
          </a:xfrm>
          <a:prstGeom prst="line">
            <a:avLst/>
          </a:prstGeom>
          <a:ln w="12700">
            <a:solidFill>
              <a:srgbClr val="859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7EDB74A1-3DAE-7F44-A6EB-0E1116BBAF33}"/>
              </a:ext>
            </a:extLst>
          </p:cNvPr>
          <p:cNvCxnSpPr>
            <a:cxnSpLocks/>
          </p:cNvCxnSpPr>
          <p:nvPr/>
        </p:nvCxnSpPr>
        <p:spPr>
          <a:xfrm>
            <a:off x="324000" y="499500"/>
            <a:ext cx="8820000" cy="0"/>
          </a:xfrm>
          <a:prstGeom prst="line">
            <a:avLst/>
          </a:prstGeom>
          <a:ln w="12700">
            <a:solidFill>
              <a:srgbClr val="FD78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60F2CCFB-B044-3544-9E42-D78BA40D7FE0}"/>
              </a:ext>
            </a:extLst>
          </p:cNvPr>
          <p:cNvCxnSpPr>
            <a:cxnSpLocks/>
          </p:cNvCxnSpPr>
          <p:nvPr/>
        </p:nvCxnSpPr>
        <p:spPr>
          <a:xfrm>
            <a:off x="324000" y="4749287"/>
            <a:ext cx="8496000" cy="0"/>
          </a:xfrm>
          <a:prstGeom prst="line">
            <a:avLst/>
          </a:prstGeom>
          <a:ln w="635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2">
            <a:extLst>
              <a:ext uri="{FF2B5EF4-FFF2-40B4-BE49-F238E27FC236}">
                <a16:creationId xmlns:a16="http://schemas.microsoft.com/office/drawing/2014/main" id="{5477DEBA-3CB9-FA43-8E79-C7A8D1B66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A4E7BAB-D564-E344-B586-7B145070C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BBBB25BD-A9AF-9241-BD08-DAB94ED948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9277" y="4821436"/>
            <a:ext cx="71697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EC1613B2-C89F-499A-8C0D-E7D39129207B}" type="datetime1">
              <a:rPr lang="de-DE" smtClean="0"/>
              <a:t>28.11.2022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1BB55B9-2489-1E42-AA09-640E6326C25B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935" y="4846916"/>
            <a:ext cx="1138042" cy="16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F13192C-9A02-4848-9F45-ECE48C28E23A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218" y="4814100"/>
            <a:ext cx="1041615" cy="276225"/>
          </a:xfrm>
          <a:prstGeom prst="rect">
            <a:avLst/>
          </a:prstGeom>
        </p:spPr>
      </p:pic>
      <p:pic>
        <p:nvPicPr>
          <p:cNvPr id="2050" name="Picture 2" descr="G:\Mafos\Huffer\BHu2020\gemeinsames Template PPT\final\Logos\SHS - Stahl-Holding-Saar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4827" y="4814100"/>
            <a:ext cx="1851955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75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687" r:id="rId2"/>
    <p:sldLayoutId id="2147483673" r:id="rId3"/>
    <p:sldLayoutId id="2147483773" r:id="rId4"/>
    <p:sldLayoutId id="2147483712" r:id="rId5"/>
    <p:sldLayoutId id="2147483772" r:id="rId6"/>
    <p:sldLayoutId id="2147483664" r:id="rId7"/>
    <p:sldLayoutId id="2147483769" r:id="rId8"/>
    <p:sldLayoutId id="2147483720" r:id="rId9"/>
    <p:sldLayoutId id="2147483774" r:id="rId10"/>
    <p:sldLayoutId id="2147483722" r:id="rId11"/>
    <p:sldLayoutId id="2147483721" r:id="rId12"/>
    <p:sldLayoutId id="2147483723" r:id="rId13"/>
    <p:sldLayoutId id="2147483716" r:id="rId14"/>
    <p:sldLayoutId id="2147483717" r:id="rId15"/>
    <p:sldLayoutId id="2147483713" r:id="rId16"/>
    <p:sldLayoutId id="2147483775" r:id="rId17"/>
    <p:sldLayoutId id="2147483714" r:id="rId18"/>
    <p:sldLayoutId id="2147483724" r:id="rId19"/>
    <p:sldLayoutId id="2147483771" r:id="rId20"/>
    <p:sldLayoutId id="2147483715" r:id="rId21"/>
    <p:sldLayoutId id="2147483666" r:id="rId22"/>
    <p:sldLayoutId id="2147483665" r:id="rId23"/>
    <p:sldLayoutId id="2147483718" r:id="rId24"/>
    <p:sldLayoutId id="2147483719" r:id="rId25"/>
    <p:sldLayoutId id="2147483682" r:id="rId26"/>
    <p:sldLayoutId id="2147483683" r:id="rId27"/>
    <p:sldLayoutId id="2147483684" r:id="rId28"/>
    <p:sldLayoutId id="2147483685" r:id="rId29"/>
    <p:sldLayoutId id="2147483945" r:id="rId30"/>
    <p:sldLayoutId id="2147483711" r:id="rId31"/>
    <p:sldLayoutId id="2147483946" r:id="rId32"/>
    <p:sldLayoutId id="2147483700" r:id="rId33"/>
  </p:sldLayoutIdLs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hs-it/VerarbeitungsCounter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>
          <a:xfrm>
            <a:off x="1982679" y="1725555"/>
            <a:ext cx="5770930" cy="684803"/>
          </a:xfrm>
        </p:spPr>
        <p:txBody>
          <a:bodyPr/>
          <a:lstStyle/>
          <a:p>
            <a:r>
              <a:rPr lang="de-DE" dirty="0"/>
              <a:t>Grundlagen der Kommunikation in verteilten Systemen</a:t>
            </a:r>
          </a:p>
        </p:txBody>
      </p:sp>
    </p:spTree>
    <p:extLst>
      <p:ext uri="{BB962C8B-B14F-4D97-AF65-F5344CB8AC3E}">
        <p14:creationId xmlns:p14="http://schemas.microsoft.com/office/powerpoint/2010/main" val="782954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E12BEB-7DD9-4F47-9AEA-D237B31DE4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3335ED5-30E7-49E9-998D-441391C92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: Container Ebe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8E00E2-60B6-4695-943D-7819F17BA8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3D4D2A2-D475-47B9-8554-57B0E5FC92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7A333AC-6532-4062-902F-FD21DE52B1E8}"/>
              </a:ext>
            </a:extLst>
          </p:cNvPr>
          <p:cNvGrpSpPr/>
          <p:nvPr/>
        </p:nvGrpSpPr>
        <p:grpSpPr>
          <a:xfrm>
            <a:off x="1160282" y="2243797"/>
            <a:ext cx="7432286" cy="2361351"/>
            <a:chOff x="3646045" y="1939607"/>
            <a:chExt cx="2371122" cy="16086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76FADB0-AB94-48F5-919A-4E773E9E01D8}"/>
                </a:ext>
              </a:extLst>
            </p:cNvPr>
            <p:cNvSpPr/>
            <p:nvPr/>
          </p:nvSpPr>
          <p:spPr>
            <a:xfrm>
              <a:off x="3675339" y="1939607"/>
              <a:ext cx="2341828" cy="1496908"/>
            </a:xfrm>
            <a:prstGeom prst="rect">
              <a:avLst/>
            </a:prstGeom>
            <a:noFill/>
            <a:ln w="25400">
              <a:solidFill>
                <a:srgbClr val="0070C0"/>
              </a:solidFill>
              <a:prstDash val="sysDash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9E1EE526-0168-477B-A57A-9AC1845FB6F8}"/>
                </a:ext>
              </a:extLst>
            </p:cNvPr>
            <p:cNvSpPr txBox="1"/>
            <p:nvPr/>
          </p:nvSpPr>
          <p:spPr>
            <a:xfrm>
              <a:off x="3646045" y="3410439"/>
              <a:ext cx="2168703" cy="137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rgbClr val="0070C0"/>
                  </a:solidFill>
                </a:rPr>
                <a:t>VerarbeitungsCounter</a:t>
              </a: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8D6BC72B-7476-40C4-B14C-734626965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8152" y="2820222"/>
            <a:ext cx="1398794" cy="934592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B78D466-0957-4820-BAA3-DC9B71FD3A83}"/>
              </a:ext>
            </a:extLst>
          </p:cNvPr>
          <p:cNvGrpSpPr/>
          <p:nvPr/>
        </p:nvGrpSpPr>
        <p:grpSpPr>
          <a:xfrm>
            <a:off x="3992656" y="2383654"/>
            <a:ext cx="2054595" cy="885565"/>
            <a:chOff x="3513229" y="1532823"/>
            <a:chExt cx="2168704" cy="141324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E591ABC-8DAE-4983-8095-06A7C6446540}"/>
                </a:ext>
              </a:extLst>
            </p:cNvPr>
            <p:cNvSpPr/>
            <p:nvPr/>
          </p:nvSpPr>
          <p:spPr>
            <a:xfrm>
              <a:off x="3513229" y="1564782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F49F21AD-E238-4D06-A398-E593EAD1F99A}"/>
                </a:ext>
              </a:extLst>
            </p:cNvPr>
            <p:cNvSpPr txBox="1"/>
            <p:nvPr/>
          </p:nvSpPr>
          <p:spPr>
            <a:xfrm>
              <a:off x="3513230" y="1532823"/>
              <a:ext cx="2168703" cy="687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larmIT</a:t>
              </a:r>
              <a:endParaRPr lang="de-DE" b="1" dirty="0">
                <a:solidFill>
                  <a:schemeClr val="bg1"/>
                </a:solidFill>
              </a:endParaRP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Instanz 1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8B917442-0732-476D-9B29-FE35D3C7472B}"/>
                </a:ext>
              </a:extLst>
            </p:cNvPr>
            <p:cNvSpPr txBox="1"/>
            <p:nvPr/>
          </p:nvSpPr>
          <p:spPr>
            <a:xfrm>
              <a:off x="3683893" y="2060343"/>
              <a:ext cx="1940483" cy="810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Erstellt Warn- und Störungsmeldungen anhand von empfangenen Telegrammen</a:t>
              </a:r>
            </a:p>
          </p:txBody>
        </p:sp>
      </p:grpSp>
      <p:sp>
        <p:nvSpPr>
          <p:cNvPr id="28" name="Rechteck 27">
            <a:extLst>
              <a:ext uri="{FF2B5EF4-FFF2-40B4-BE49-F238E27FC236}">
                <a16:creationId xmlns:a16="http://schemas.microsoft.com/office/drawing/2014/main" id="{E771041B-90A3-4554-9BBE-54F3592665D9}"/>
              </a:ext>
            </a:extLst>
          </p:cNvPr>
          <p:cNvSpPr/>
          <p:nvPr/>
        </p:nvSpPr>
        <p:spPr>
          <a:xfrm>
            <a:off x="3996806" y="3320768"/>
            <a:ext cx="2054594" cy="865539"/>
          </a:xfrm>
          <a:prstGeom prst="rect">
            <a:avLst/>
          </a:prstGeom>
          <a:solidFill>
            <a:srgbClr val="0070C0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77BD6E3B-9E3B-4649-A814-4508383902B6}"/>
              </a:ext>
            </a:extLst>
          </p:cNvPr>
          <p:cNvSpPr txBox="1"/>
          <p:nvPr/>
        </p:nvSpPr>
        <p:spPr>
          <a:xfrm>
            <a:off x="3996806" y="3295833"/>
            <a:ext cx="20545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>
                <a:solidFill>
                  <a:schemeClr val="bg1"/>
                </a:solidFill>
              </a:rPr>
              <a:t>AlarmIT</a:t>
            </a:r>
            <a:endParaRPr lang="de-DE" b="1" dirty="0">
              <a:solidFill>
                <a:schemeClr val="bg1"/>
              </a:solidFill>
            </a:endParaRPr>
          </a:p>
          <a:p>
            <a:pPr algn="ctr"/>
            <a:r>
              <a:rPr lang="de-DE" sz="800" b="1" dirty="0">
                <a:solidFill>
                  <a:schemeClr val="bg1"/>
                </a:solidFill>
              </a:rPr>
              <a:t>Instanz 2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BC4A64-62F8-4847-8C81-AA34FDEA0445}"/>
              </a:ext>
            </a:extLst>
          </p:cNvPr>
          <p:cNvSpPr txBox="1"/>
          <p:nvPr/>
        </p:nvSpPr>
        <p:spPr>
          <a:xfrm>
            <a:off x="4158489" y="3631297"/>
            <a:ext cx="18383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>
                    <a:lumMod val="95000"/>
                  </a:schemeClr>
                </a:solidFill>
              </a:rPr>
              <a:t>Erstellt Warn- und Störungsmeldungen anhand von empfangenen Telegrammen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9BE8A6F-B68B-4545-BBC9-7642F49B2622}"/>
              </a:ext>
            </a:extLst>
          </p:cNvPr>
          <p:cNvSpPr txBox="1"/>
          <p:nvPr/>
        </p:nvSpPr>
        <p:spPr>
          <a:xfrm>
            <a:off x="6958152" y="2908563"/>
            <a:ext cx="13987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PostgreSQL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9C0880A-B8DF-4CA6-8238-1A60676AB4A9}"/>
              </a:ext>
            </a:extLst>
          </p:cNvPr>
          <p:cNvSpPr txBox="1"/>
          <p:nvPr/>
        </p:nvSpPr>
        <p:spPr>
          <a:xfrm>
            <a:off x="7013993" y="3216340"/>
            <a:ext cx="12634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Speichert empfangene Nachrichten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AB4D377-0172-45BD-A255-DFDF4F8203A7}"/>
              </a:ext>
            </a:extLst>
          </p:cNvPr>
          <p:cNvGrpSpPr/>
          <p:nvPr/>
        </p:nvGrpSpPr>
        <p:grpSpPr>
          <a:xfrm>
            <a:off x="1312848" y="2868302"/>
            <a:ext cx="1671803" cy="885565"/>
            <a:chOff x="3379929" y="1383139"/>
            <a:chExt cx="2168703" cy="141324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648EC44C-2575-4D5E-B5F9-39D5E6808102}"/>
                </a:ext>
              </a:extLst>
            </p:cNvPr>
            <p:cNvSpPr/>
            <p:nvPr/>
          </p:nvSpPr>
          <p:spPr>
            <a:xfrm>
              <a:off x="3379929" y="1415098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71BA3347-FBAA-4C7C-8C87-321EBA18EA5D}"/>
                </a:ext>
              </a:extLst>
            </p:cNvPr>
            <p:cNvSpPr txBox="1"/>
            <p:nvPr/>
          </p:nvSpPr>
          <p:spPr>
            <a:xfrm>
              <a:off x="3379929" y="1383139"/>
              <a:ext cx="2168703" cy="491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ctiveMQ</a:t>
              </a:r>
              <a:endParaRPr lang="de-DE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435AFFC1-9DEC-4B4A-97DF-2775BD46B3DD}"/>
                </a:ext>
              </a:extLst>
            </p:cNvPr>
            <p:cNvSpPr txBox="1"/>
            <p:nvPr/>
          </p:nvSpPr>
          <p:spPr>
            <a:xfrm>
              <a:off x="3550594" y="1910659"/>
              <a:ext cx="1940483" cy="5894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Regelt das Empfangen und senden von Nachrichten</a:t>
              </a:r>
            </a:p>
          </p:txBody>
        </p:sp>
      </p:grpSp>
      <p:cxnSp>
        <p:nvCxnSpPr>
          <p:cNvPr id="62" name="Verbinder: gewinkelt 61">
            <a:extLst>
              <a:ext uri="{FF2B5EF4-FFF2-40B4-BE49-F238E27FC236}">
                <a16:creationId xmlns:a16="http://schemas.microsoft.com/office/drawing/2014/main" id="{2A8D688C-B330-47BF-9454-B75201064B37}"/>
              </a:ext>
            </a:extLst>
          </p:cNvPr>
          <p:cNvCxnSpPr>
            <a:cxnSpLocks/>
            <a:stCxn id="3" idx="2"/>
            <a:endCxn id="35" idx="0"/>
          </p:cNvCxnSpPr>
          <p:nvPr/>
        </p:nvCxnSpPr>
        <p:spPr>
          <a:xfrm rot="16200000" flipH="1">
            <a:off x="1710127" y="2429678"/>
            <a:ext cx="877245" cy="1"/>
          </a:xfrm>
          <a:prstGeom prst="bentConnector3">
            <a:avLst>
              <a:gd name="adj1" fmla="val 50000"/>
            </a:avLst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Verbinder: gewinkelt 63">
            <a:extLst>
              <a:ext uri="{FF2B5EF4-FFF2-40B4-BE49-F238E27FC236}">
                <a16:creationId xmlns:a16="http://schemas.microsoft.com/office/drawing/2014/main" id="{0BD3C609-8B3A-48E0-B6DC-BAABE9DE9D72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2984651" y="3049379"/>
            <a:ext cx="1008005" cy="271719"/>
          </a:xfrm>
          <a:prstGeom prst="bentConnector3">
            <a:avLst>
              <a:gd name="adj1" fmla="val 7285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Verbinder: gewinkelt 66">
            <a:extLst>
              <a:ext uri="{FF2B5EF4-FFF2-40B4-BE49-F238E27FC236}">
                <a16:creationId xmlns:a16="http://schemas.microsoft.com/office/drawing/2014/main" id="{235A0188-5E55-44E4-8388-AE037BD9C422}"/>
              </a:ext>
            </a:extLst>
          </p:cNvPr>
          <p:cNvCxnSpPr>
            <a:cxnSpLocks/>
            <a:stCxn id="34" idx="3"/>
          </p:cNvCxnSpPr>
          <p:nvPr/>
        </p:nvCxnSpPr>
        <p:spPr>
          <a:xfrm>
            <a:off x="2984651" y="3321098"/>
            <a:ext cx="1007996" cy="252740"/>
          </a:xfrm>
          <a:prstGeom prst="bentConnector3">
            <a:avLst>
              <a:gd name="adj1" fmla="val 72852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670FBAAE-E609-4DB7-8A12-812593D5247E}"/>
              </a:ext>
            </a:extLst>
          </p:cNvPr>
          <p:cNvCxnSpPr>
            <a:endCxn id="16" idx="1"/>
          </p:cNvCxnSpPr>
          <p:nvPr/>
        </p:nvCxnSpPr>
        <p:spPr>
          <a:xfrm>
            <a:off x="6051400" y="2820222"/>
            <a:ext cx="906752" cy="467296"/>
          </a:xfrm>
          <a:prstGeom prst="bentConnector3">
            <a:avLst>
              <a:gd name="adj1" fmla="val 4445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Verbinder: gewinkelt 76">
            <a:extLst>
              <a:ext uri="{FF2B5EF4-FFF2-40B4-BE49-F238E27FC236}">
                <a16:creationId xmlns:a16="http://schemas.microsoft.com/office/drawing/2014/main" id="{5AAE1E17-A04B-4C4E-8273-ED0DF1D6FA38}"/>
              </a:ext>
            </a:extLst>
          </p:cNvPr>
          <p:cNvCxnSpPr>
            <a:stCxn id="28" idx="3"/>
            <a:endCxn id="16" idx="1"/>
          </p:cNvCxnSpPr>
          <p:nvPr/>
        </p:nvCxnSpPr>
        <p:spPr>
          <a:xfrm flipV="1">
            <a:off x="6051400" y="3287518"/>
            <a:ext cx="906752" cy="466020"/>
          </a:xfrm>
          <a:prstGeom prst="bentConnector3">
            <a:avLst>
              <a:gd name="adj1" fmla="val 4445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Verbinder: gewinkelt 104">
            <a:extLst>
              <a:ext uri="{FF2B5EF4-FFF2-40B4-BE49-F238E27FC236}">
                <a16:creationId xmlns:a16="http://schemas.microsoft.com/office/drawing/2014/main" id="{DE3BD498-0D8C-487F-B57E-D180219C74D8}"/>
              </a:ext>
            </a:extLst>
          </p:cNvPr>
          <p:cNvCxnSpPr>
            <a:cxnSpLocks/>
            <a:stCxn id="18" idx="2"/>
            <a:endCxn id="22" idx="3"/>
          </p:cNvCxnSpPr>
          <p:nvPr/>
        </p:nvCxnSpPr>
        <p:spPr>
          <a:xfrm rot="5400000">
            <a:off x="5843764" y="2177315"/>
            <a:ext cx="625270" cy="218296"/>
          </a:xfrm>
          <a:prstGeom prst="bentConnector2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23860122-B866-45FB-90B1-0904E54E16A4}"/>
              </a:ext>
            </a:extLst>
          </p:cNvPr>
          <p:cNvCxnSpPr>
            <a:cxnSpLocks/>
            <a:stCxn id="18" idx="2"/>
            <a:endCxn id="29" idx="3"/>
          </p:cNvCxnSpPr>
          <p:nvPr/>
        </p:nvCxnSpPr>
        <p:spPr>
          <a:xfrm rot="5400000">
            <a:off x="5389750" y="2635479"/>
            <a:ext cx="1537449" cy="214147"/>
          </a:xfrm>
          <a:prstGeom prst="bentConnector2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839A7506-B1F7-48AD-AA9D-39626C5C7CC8}"/>
              </a:ext>
            </a:extLst>
          </p:cNvPr>
          <p:cNvSpPr txBox="1"/>
          <p:nvPr/>
        </p:nvSpPr>
        <p:spPr>
          <a:xfrm>
            <a:off x="2911314" y="3287518"/>
            <a:ext cx="738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endet </a:t>
            </a:r>
          </a:p>
          <a:p>
            <a:pPr algn="ctr"/>
            <a:r>
              <a:rPr lang="de-DE" sz="800" dirty="0"/>
              <a:t>und empfängt Nachrichten</a:t>
            </a: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E46F2DB3-3980-419B-9072-97A4BB43EFF8}"/>
              </a:ext>
            </a:extLst>
          </p:cNvPr>
          <p:cNvSpPr txBox="1"/>
          <p:nvPr/>
        </p:nvSpPr>
        <p:spPr>
          <a:xfrm>
            <a:off x="6368686" y="2883467"/>
            <a:ext cx="755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Speichert Meldungen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04ACD5A-8AB9-8AAF-85F6-51051689A4CF}"/>
              </a:ext>
            </a:extLst>
          </p:cNvPr>
          <p:cNvGrpSpPr/>
          <p:nvPr/>
        </p:nvGrpSpPr>
        <p:grpSpPr>
          <a:xfrm>
            <a:off x="1123259" y="1137856"/>
            <a:ext cx="2050980" cy="853201"/>
            <a:chOff x="637317" y="1967657"/>
            <a:chExt cx="2168704" cy="141018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DB74A03-23AF-53C7-437B-55C6BC073110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44D5624A-C060-FA2F-6CED-BC27BB7FF1E8}"/>
                </a:ext>
              </a:extLst>
            </p:cNvPr>
            <p:cNvSpPr txBox="1"/>
            <p:nvPr/>
          </p:nvSpPr>
          <p:spPr>
            <a:xfrm>
              <a:off x="1116892" y="1967657"/>
              <a:ext cx="1203015" cy="1068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Level 1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60673995-86DF-974B-D171-BCF9DC84EFA0}"/>
                </a:ext>
              </a:extLst>
            </p:cNvPr>
            <p:cNvSpPr txBox="1"/>
            <p:nvPr/>
          </p:nvSpPr>
          <p:spPr>
            <a:xfrm>
              <a:off x="979475" y="2509416"/>
              <a:ext cx="1539142" cy="83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Schnittstelle die Daten von Analysegeräten Empfängt und Überträgt</a:t>
              </a:r>
            </a:p>
          </p:txBody>
        </p:sp>
      </p:grpSp>
      <p:sp>
        <p:nvSpPr>
          <p:cNvPr id="15" name="Textfeld 14">
            <a:extLst>
              <a:ext uri="{FF2B5EF4-FFF2-40B4-BE49-F238E27FC236}">
                <a16:creationId xmlns:a16="http://schemas.microsoft.com/office/drawing/2014/main" id="{8923D7F0-CA67-AD8D-FD16-029F884E623D}"/>
              </a:ext>
            </a:extLst>
          </p:cNvPr>
          <p:cNvSpPr txBox="1"/>
          <p:nvPr/>
        </p:nvSpPr>
        <p:spPr>
          <a:xfrm>
            <a:off x="1937050" y="1945912"/>
            <a:ext cx="11223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endet Daten-Telegramm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F059C1C-DF1C-75AD-15A0-8D7BC049B440}"/>
              </a:ext>
            </a:extLst>
          </p:cNvPr>
          <p:cNvGrpSpPr/>
          <p:nvPr/>
        </p:nvGrpSpPr>
        <p:grpSpPr>
          <a:xfrm>
            <a:off x="5276750" y="1184206"/>
            <a:ext cx="1977594" cy="789622"/>
            <a:chOff x="657278" y="2032251"/>
            <a:chExt cx="2168704" cy="95744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99B3687-72AC-090E-81E1-53F82F22189D}"/>
                </a:ext>
              </a:extLst>
            </p:cNvPr>
            <p:cNvSpPr/>
            <p:nvPr/>
          </p:nvSpPr>
          <p:spPr>
            <a:xfrm>
              <a:off x="657278" y="2032251"/>
              <a:ext cx="2168704" cy="9574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62D13D8-EBEC-7B23-17C4-723421AC3F15}"/>
                </a:ext>
              </a:extLst>
            </p:cNvPr>
            <p:cNvSpPr txBox="1"/>
            <p:nvPr/>
          </p:nvSpPr>
          <p:spPr>
            <a:xfrm>
              <a:off x="836926" y="2066602"/>
              <a:ext cx="1800596" cy="634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GUI</a:t>
              </a:r>
              <a:endPara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A797D283-CC52-D37C-2EB3-D0FEEAC05F0B}"/>
                </a:ext>
              </a:extLst>
            </p:cNvPr>
            <p:cNvSpPr txBox="1"/>
            <p:nvPr/>
          </p:nvSpPr>
          <p:spPr>
            <a:xfrm>
              <a:off x="715282" y="2348266"/>
              <a:ext cx="2016203" cy="615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von </a:t>
              </a:r>
              <a:r>
                <a:rPr lang="de-DE" sz="900" dirty="0" err="1">
                  <a:solidFill>
                    <a:schemeClr val="bg1">
                      <a:lumMod val="95000"/>
                    </a:schemeClr>
                  </a:solidFill>
                </a:rPr>
                <a:t>AlarmIT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 über den Browser</a:t>
              </a:r>
              <a:endParaRPr lang="de-DE" sz="900" dirty="0">
                <a:solidFill>
                  <a:schemeClr val="bg2"/>
                </a:solidFill>
              </a:endParaRPr>
            </a:p>
          </p:txBody>
        </p:sp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4AFAA233-A124-19BA-9F69-6ACA6671FD48}"/>
              </a:ext>
            </a:extLst>
          </p:cNvPr>
          <p:cNvSpPr txBox="1"/>
          <p:nvPr/>
        </p:nvSpPr>
        <p:spPr>
          <a:xfrm>
            <a:off x="6248909" y="1941092"/>
            <a:ext cx="1255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Fragt Meldungen ab und übermittelt Befehle</a:t>
            </a:r>
          </a:p>
        </p:txBody>
      </p:sp>
    </p:spTree>
    <p:extLst>
      <p:ext uri="{BB962C8B-B14F-4D97-AF65-F5344CB8AC3E}">
        <p14:creationId xmlns:p14="http://schemas.microsoft.com/office/powerpoint/2010/main" val="2738895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 ist ein einfaches verteiltes Syste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48" y="1084058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292981" y="1657828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5400000">
            <a:off x="4174943" y="2853385"/>
            <a:ext cx="771222" cy="1511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693939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74929" y="3005328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0282" y="1494682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8206" y="1387802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8988" y="3376030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8988" y="1215296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085905" y="978923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4029792" y="4432788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288427" y="1163588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046A8E8-14A2-9E54-9DAA-3EC102C47A13}"/>
              </a:ext>
            </a:extLst>
          </p:cNvPr>
          <p:cNvSpPr txBox="1"/>
          <p:nvPr/>
        </p:nvSpPr>
        <p:spPr>
          <a:xfrm>
            <a:off x="2213393" y="14430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Nachrich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854757A-45AB-D4BE-A8F6-AA1896BFDF67}"/>
              </a:ext>
            </a:extLst>
          </p:cNvPr>
          <p:cNvSpPr txBox="1"/>
          <p:nvPr/>
        </p:nvSpPr>
        <p:spPr>
          <a:xfrm>
            <a:off x="5302368" y="14116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Synchrone Nachrich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CB31109-E659-A156-061B-AC36C42193CF}"/>
              </a:ext>
            </a:extLst>
          </p:cNvPr>
          <p:cNvSpPr txBox="1"/>
          <p:nvPr/>
        </p:nvSpPr>
        <p:spPr>
          <a:xfrm>
            <a:off x="1518701" y="2915086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C7D5CB9-0DB9-3D8F-DCE9-A1C8D584CEE3}"/>
              </a:ext>
            </a:extLst>
          </p:cNvPr>
          <p:cNvSpPr txBox="1"/>
          <p:nvPr/>
        </p:nvSpPr>
        <p:spPr>
          <a:xfrm>
            <a:off x="4572000" y="2720589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</p:spTree>
    <p:extLst>
      <p:ext uri="{BB962C8B-B14F-4D97-AF65-F5344CB8AC3E}">
        <p14:creationId xmlns:p14="http://schemas.microsoft.com/office/powerpoint/2010/main" val="2005823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grenzung des Kontextes durch Docker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75" y="1361267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501151" y="2011581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478914">
            <a:off x="5321548" y="2342862"/>
            <a:ext cx="1284421" cy="2613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801274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39641" y="3199579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7713" y="1293681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5637" y="1186801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7578" y="1981835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7014" y="1597640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103931" y="1361267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6708382" y="3038593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305858" y="962587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 rot="21065994"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9A8B80C-0976-5D56-17EE-E03F57CA6691}"/>
              </a:ext>
            </a:extLst>
          </p:cNvPr>
          <p:cNvSpPr/>
          <p:nvPr/>
        </p:nvSpPr>
        <p:spPr>
          <a:xfrm>
            <a:off x="539749" y="859715"/>
            <a:ext cx="8106019" cy="2727558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86238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ondere Eigenschaft von </a:t>
            </a:r>
            <a:r>
              <a:rPr lang="de-DE" dirty="0" err="1"/>
              <a:t>AlarmIT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EA52C15-0172-40BE-A45F-0B14BF5F3565}"/>
              </a:ext>
            </a:extLst>
          </p:cNvPr>
          <p:cNvSpPr/>
          <p:nvPr/>
        </p:nvSpPr>
        <p:spPr>
          <a:xfrm>
            <a:off x="952500" y="1186874"/>
            <a:ext cx="7493000" cy="2498435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FD5F37D-A9E2-4812-AE13-3080CFBC047A}"/>
              </a:ext>
            </a:extLst>
          </p:cNvPr>
          <p:cNvSpPr txBox="1"/>
          <p:nvPr/>
        </p:nvSpPr>
        <p:spPr>
          <a:xfrm>
            <a:off x="234000" y="761014"/>
            <a:ext cx="45751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AlarmIT</a:t>
            </a:r>
            <a:r>
              <a:rPr lang="de-DE" b="1" dirty="0"/>
              <a:t> verwendet Zero Downtime </a:t>
            </a:r>
            <a:r>
              <a:rPr lang="de-DE" b="1" dirty="0" err="1"/>
              <a:t>Deployment</a:t>
            </a:r>
            <a:endParaRPr lang="de-DE" b="1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99" y="1754075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9F40972-C1C5-545F-D309-BB9CA65ECF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2402" y="2453842"/>
            <a:ext cx="883435" cy="88343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DC9DB61-CEDD-DEEF-9373-CB89CBE63A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8540" y="1754280"/>
            <a:ext cx="626920" cy="62692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44F96D30-611C-D47F-683A-C61CCB56030F}"/>
              </a:ext>
            </a:extLst>
          </p:cNvPr>
          <p:cNvSpPr txBox="1"/>
          <p:nvPr/>
        </p:nvSpPr>
        <p:spPr>
          <a:xfrm>
            <a:off x="4206222" y="157784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53C6D3FC-8594-FBB9-53C7-AFC844BB7C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8540" y="2582100"/>
            <a:ext cx="626920" cy="62692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64B01283-109D-EA8F-E8F9-A1B25E7124A8}"/>
              </a:ext>
            </a:extLst>
          </p:cNvPr>
          <p:cNvSpPr txBox="1"/>
          <p:nvPr/>
        </p:nvSpPr>
        <p:spPr>
          <a:xfrm>
            <a:off x="4206222" y="240566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37DBD8E-ED01-BCFC-7177-8D42910AF103}"/>
              </a:ext>
            </a:extLst>
          </p:cNvPr>
          <p:cNvSpPr/>
          <p:nvPr/>
        </p:nvSpPr>
        <p:spPr>
          <a:xfrm>
            <a:off x="1168739" y="3849271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6" name="Pfeil: nach rechts 35">
            <a:extLst>
              <a:ext uri="{FF2B5EF4-FFF2-40B4-BE49-F238E27FC236}">
                <a16:creationId xmlns:a16="http://schemas.microsoft.com/office/drawing/2014/main" id="{EF66B209-9F8B-9AE9-8F16-42421D499FA8}"/>
              </a:ext>
            </a:extLst>
          </p:cNvPr>
          <p:cNvSpPr/>
          <p:nvPr/>
        </p:nvSpPr>
        <p:spPr>
          <a:xfrm>
            <a:off x="2751464" y="1916465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8D8DE4A-9061-DBF8-032E-E3BB9C274436}"/>
              </a:ext>
            </a:extLst>
          </p:cNvPr>
          <p:cNvSpPr/>
          <p:nvPr/>
        </p:nvSpPr>
        <p:spPr>
          <a:xfrm rot="16200000">
            <a:off x="1675489" y="3370035"/>
            <a:ext cx="659964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A1B281B0-F905-E4FB-D3D6-D641A8884D6B}"/>
              </a:ext>
            </a:extLst>
          </p:cNvPr>
          <p:cNvSpPr/>
          <p:nvPr/>
        </p:nvSpPr>
        <p:spPr>
          <a:xfrm rot="1311457">
            <a:off x="5155094" y="2376512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6BB143BE-FC01-43AD-F006-39D6A59A39F5}"/>
              </a:ext>
            </a:extLst>
          </p:cNvPr>
          <p:cNvSpPr/>
          <p:nvPr/>
        </p:nvSpPr>
        <p:spPr>
          <a:xfrm rot="10800000">
            <a:off x="5155791" y="1848834"/>
            <a:ext cx="1355186" cy="218906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ED913E49-453B-40AC-3277-FF8C0A8E3E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3128" y="1661473"/>
            <a:ext cx="1564513" cy="509984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E6BDE96C-F3CB-4B26-F3E0-528475E20C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1052" y="1554593"/>
            <a:ext cx="723743" cy="72374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792FA55B-34E0-6396-891D-09513E24823E}"/>
              </a:ext>
            </a:extLst>
          </p:cNvPr>
          <p:cNvSpPr txBox="1"/>
          <p:nvPr/>
        </p:nvSpPr>
        <p:spPr>
          <a:xfrm>
            <a:off x="7181273" y="1330379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D28FAF33-FF0D-6319-9AD7-0C5C0BAA6C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8511" y="1860273"/>
            <a:ext cx="1151636" cy="1151636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210DC9FB-F761-5D00-9811-0FF6BA27E6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7926" y="1863125"/>
            <a:ext cx="1151636" cy="115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312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36" grpId="0" animBg="1"/>
      <p:bldP spid="40" grpId="0" animBg="1"/>
      <p:bldP spid="4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8592B0-3549-40AE-9F88-38A678A26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320" y="2152342"/>
            <a:ext cx="6924312" cy="567848"/>
          </a:xfrm>
          <a:ln w="44450">
            <a:gradFill flip="none" rotWithShape="1">
              <a:gsLst>
                <a:gs pos="26566">
                  <a:srgbClr val="FEE1CD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txBody>
          <a:bodyPr/>
          <a:lstStyle/>
          <a:p>
            <a:r>
              <a:rPr lang="de-DE" sz="1800" dirty="0"/>
              <a:t>Welche Kommunikationsarten gibt es und wie verhalten sie sich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616CB3-A24F-4BFE-B60C-2E2F1C68DC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58000" y="2028855"/>
            <a:ext cx="4338000" cy="485839"/>
          </a:xfrm>
        </p:spPr>
        <p:txBody>
          <a:bodyPr/>
          <a:lstStyle/>
          <a:p>
            <a:endParaRPr lang="de-DE" sz="1800" dirty="0"/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5C3F8F-7356-47F1-811C-227F490E19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3F9E8D2-D01C-4420-9F13-898EE190D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 Thematik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437718D-C257-409B-A778-0E0768A0C1A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FD6AB9-7AAD-4DD7-BA14-524731572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7635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13BC98-1692-45AB-986F-CED4467D9B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6068" y="4419309"/>
            <a:ext cx="3271864" cy="267830"/>
          </a:xfrm>
        </p:spPr>
        <p:txBody>
          <a:bodyPr/>
          <a:lstStyle/>
          <a:p>
            <a:r>
              <a:rPr lang="de-DE" dirty="0">
                <a:hlinkClick r:id="rId3"/>
              </a:rPr>
              <a:t>https://github.com/shs-it/VerarbeitungsCoun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F91F82-5E1B-4D62-A305-9C9A67D3F43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95A0181-7F76-4A80-91D5-3113900FC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bereit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D46F17-8AA4-4A04-9926-81B23EA752F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A751215-8486-48E0-9DB0-392203FD9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4C3E592-5256-403E-B92E-82A8DACFE7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6923" y="908466"/>
            <a:ext cx="6980153" cy="3326567"/>
          </a:xfrm>
          <a:prstGeom prst="rect">
            <a:avLst/>
          </a:prstGeom>
          <a:ln w="63500" cmpd="dbl">
            <a:gradFill>
              <a:gsLst>
                <a:gs pos="0">
                  <a:srgbClr val="765690"/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6980153"/>
                      <a:gd name="connsiteY0" fmla="*/ 0 h 3326567"/>
                      <a:gd name="connsiteX1" fmla="*/ 511878 w 6980153"/>
                      <a:gd name="connsiteY1" fmla="*/ 0 h 3326567"/>
                      <a:gd name="connsiteX2" fmla="*/ 1163359 w 6980153"/>
                      <a:gd name="connsiteY2" fmla="*/ 0 h 3326567"/>
                      <a:gd name="connsiteX3" fmla="*/ 1605435 w 6980153"/>
                      <a:gd name="connsiteY3" fmla="*/ 0 h 3326567"/>
                      <a:gd name="connsiteX4" fmla="*/ 2187115 w 6980153"/>
                      <a:gd name="connsiteY4" fmla="*/ 0 h 3326567"/>
                      <a:gd name="connsiteX5" fmla="*/ 2838596 w 6980153"/>
                      <a:gd name="connsiteY5" fmla="*/ 0 h 3326567"/>
                      <a:gd name="connsiteX6" fmla="*/ 3210870 w 6980153"/>
                      <a:gd name="connsiteY6" fmla="*/ 0 h 3326567"/>
                      <a:gd name="connsiteX7" fmla="*/ 3583145 w 6980153"/>
                      <a:gd name="connsiteY7" fmla="*/ 0 h 3326567"/>
                      <a:gd name="connsiteX8" fmla="*/ 4304428 w 6980153"/>
                      <a:gd name="connsiteY8" fmla="*/ 0 h 3326567"/>
                      <a:gd name="connsiteX9" fmla="*/ 4886107 w 6980153"/>
                      <a:gd name="connsiteY9" fmla="*/ 0 h 3326567"/>
                      <a:gd name="connsiteX10" fmla="*/ 5258382 w 6980153"/>
                      <a:gd name="connsiteY10" fmla="*/ 0 h 3326567"/>
                      <a:gd name="connsiteX11" fmla="*/ 5840061 w 6980153"/>
                      <a:gd name="connsiteY11" fmla="*/ 0 h 3326567"/>
                      <a:gd name="connsiteX12" fmla="*/ 6980153 w 6980153"/>
                      <a:gd name="connsiteY12" fmla="*/ 0 h 3326567"/>
                      <a:gd name="connsiteX13" fmla="*/ 6980153 w 6980153"/>
                      <a:gd name="connsiteY13" fmla="*/ 521162 h 3326567"/>
                      <a:gd name="connsiteX14" fmla="*/ 6980153 w 6980153"/>
                      <a:gd name="connsiteY14" fmla="*/ 1075590 h 3326567"/>
                      <a:gd name="connsiteX15" fmla="*/ 6980153 w 6980153"/>
                      <a:gd name="connsiteY15" fmla="*/ 1530221 h 3326567"/>
                      <a:gd name="connsiteX16" fmla="*/ 6980153 w 6980153"/>
                      <a:gd name="connsiteY16" fmla="*/ 2151180 h 3326567"/>
                      <a:gd name="connsiteX17" fmla="*/ 6980153 w 6980153"/>
                      <a:gd name="connsiteY17" fmla="*/ 2705608 h 3326567"/>
                      <a:gd name="connsiteX18" fmla="*/ 6980153 w 6980153"/>
                      <a:gd name="connsiteY18" fmla="*/ 3326567 h 3326567"/>
                      <a:gd name="connsiteX19" fmla="*/ 6468275 w 6980153"/>
                      <a:gd name="connsiteY19" fmla="*/ 3326567 h 3326567"/>
                      <a:gd name="connsiteX20" fmla="*/ 6026199 w 6980153"/>
                      <a:gd name="connsiteY20" fmla="*/ 3326567 h 3326567"/>
                      <a:gd name="connsiteX21" fmla="*/ 5304916 w 6980153"/>
                      <a:gd name="connsiteY21" fmla="*/ 3326567 h 3326567"/>
                      <a:gd name="connsiteX22" fmla="*/ 4723237 w 6980153"/>
                      <a:gd name="connsiteY22" fmla="*/ 3326567 h 3326567"/>
                      <a:gd name="connsiteX23" fmla="*/ 4350962 w 6980153"/>
                      <a:gd name="connsiteY23" fmla="*/ 3326567 h 3326567"/>
                      <a:gd name="connsiteX24" fmla="*/ 3769283 w 6980153"/>
                      <a:gd name="connsiteY24" fmla="*/ 3326567 h 3326567"/>
                      <a:gd name="connsiteX25" fmla="*/ 3257405 w 6980153"/>
                      <a:gd name="connsiteY25" fmla="*/ 3326567 h 3326567"/>
                      <a:gd name="connsiteX26" fmla="*/ 2745527 w 6980153"/>
                      <a:gd name="connsiteY26" fmla="*/ 3326567 h 3326567"/>
                      <a:gd name="connsiteX27" fmla="*/ 2233649 w 6980153"/>
                      <a:gd name="connsiteY27" fmla="*/ 3326567 h 3326567"/>
                      <a:gd name="connsiteX28" fmla="*/ 1721771 w 6980153"/>
                      <a:gd name="connsiteY28" fmla="*/ 3326567 h 3326567"/>
                      <a:gd name="connsiteX29" fmla="*/ 1070290 w 6980153"/>
                      <a:gd name="connsiteY29" fmla="*/ 3326567 h 3326567"/>
                      <a:gd name="connsiteX30" fmla="*/ 0 w 6980153"/>
                      <a:gd name="connsiteY30" fmla="*/ 3326567 h 3326567"/>
                      <a:gd name="connsiteX31" fmla="*/ 0 w 6980153"/>
                      <a:gd name="connsiteY31" fmla="*/ 2871936 h 3326567"/>
                      <a:gd name="connsiteX32" fmla="*/ 0 w 6980153"/>
                      <a:gd name="connsiteY32" fmla="*/ 2350774 h 3326567"/>
                      <a:gd name="connsiteX33" fmla="*/ 0 w 6980153"/>
                      <a:gd name="connsiteY33" fmla="*/ 1763081 h 3326567"/>
                      <a:gd name="connsiteX34" fmla="*/ 0 w 6980153"/>
                      <a:gd name="connsiteY34" fmla="*/ 1142121 h 3326567"/>
                      <a:gd name="connsiteX35" fmla="*/ 0 w 6980153"/>
                      <a:gd name="connsiteY35" fmla="*/ 687491 h 3326567"/>
                      <a:gd name="connsiteX36" fmla="*/ 0 w 6980153"/>
                      <a:gd name="connsiteY36" fmla="*/ 0 h 3326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6980153" h="3326567" fill="none" extrusionOk="0">
                        <a:moveTo>
                          <a:pt x="0" y="0"/>
                        </a:moveTo>
                        <a:cubicBezTo>
                          <a:pt x="141474" y="-12492"/>
                          <a:pt x="371064" y="40397"/>
                          <a:pt x="511878" y="0"/>
                        </a:cubicBezTo>
                        <a:cubicBezTo>
                          <a:pt x="652692" y="-40397"/>
                          <a:pt x="934857" y="32646"/>
                          <a:pt x="1163359" y="0"/>
                        </a:cubicBezTo>
                        <a:cubicBezTo>
                          <a:pt x="1391861" y="-32646"/>
                          <a:pt x="1507694" y="34845"/>
                          <a:pt x="1605435" y="0"/>
                        </a:cubicBezTo>
                        <a:cubicBezTo>
                          <a:pt x="1703176" y="-34845"/>
                          <a:pt x="2044503" y="25264"/>
                          <a:pt x="2187115" y="0"/>
                        </a:cubicBezTo>
                        <a:cubicBezTo>
                          <a:pt x="2329727" y="-25264"/>
                          <a:pt x="2613051" y="30372"/>
                          <a:pt x="2838596" y="0"/>
                        </a:cubicBezTo>
                        <a:cubicBezTo>
                          <a:pt x="3064141" y="-30372"/>
                          <a:pt x="3125503" y="20419"/>
                          <a:pt x="3210870" y="0"/>
                        </a:cubicBezTo>
                        <a:cubicBezTo>
                          <a:pt x="3296237" y="-20419"/>
                          <a:pt x="3412881" y="21776"/>
                          <a:pt x="3583145" y="0"/>
                        </a:cubicBezTo>
                        <a:cubicBezTo>
                          <a:pt x="3753410" y="-21776"/>
                          <a:pt x="4129642" y="53066"/>
                          <a:pt x="4304428" y="0"/>
                        </a:cubicBezTo>
                        <a:cubicBezTo>
                          <a:pt x="4479214" y="-53066"/>
                          <a:pt x="4626584" y="57055"/>
                          <a:pt x="4886107" y="0"/>
                        </a:cubicBezTo>
                        <a:cubicBezTo>
                          <a:pt x="5145630" y="-57055"/>
                          <a:pt x="5138614" y="25555"/>
                          <a:pt x="5258382" y="0"/>
                        </a:cubicBezTo>
                        <a:cubicBezTo>
                          <a:pt x="5378151" y="-25555"/>
                          <a:pt x="5609382" y="9172"/>
                          <a:pt x="5840061" y="0"/>
                        </a:cubicBezTo>
                        <a:cubicBezTo>
                          <a:pt x="6070740" y="-9172"/>
                          <a:pt x="6598596" y="120587"/>
                          <a:pt x="6980153" y="0"/>
                        </a:cubicBezTo>
                        <a:cubicBezTo>
                          <a:pt x="7030342" y="185332"/>
                          <a:pt x="6920407" y="320304"/>
                          <a:pt x="6980153" y="521162"/>
                        </a:cubicBezTo>
                        <a:cubicBezTo>
                          <a:pt x="7039899" y="722020"/>
                          <a:pt x="6946457" y="864872"/>
                          <a:pt x="6980153" y="1075590"/>
                        </a:cubicBezTo>
                        <a:cubicBezTo>
                          <a:pt x="7013849" y="1286308"/>
                          <a:pt x="6937362" y="1316235"/>
                          <a:pt x="6980153" y="1530221"/>
                        </a:cubicBezTo>
                        <a:cubicBezTo>
                          <a:pt x="7022944" y="1744207"/>
                          <a:pt x="6919220" y="1946641"/>
                          <a:pt x="6980153" y="2151180"/>
                        </a:cubicBezTo>
                        <a:cubicBezTo>
                          <a:pt x="7041086" y="2355719"/>
                          <a:pt x="6949738" y="2504084"/>
                          <a:pt x="6980153" y="2705608"/>
                        </a:cubicBezTo>
                        <a:cubicBezTo>
                          <a:pt x="7010568" y="2907132"/>
                          <a:pt x="6920248" y="3163579"/>
                          <a:pt x="6980153" y="3326567"/>
                        </a:cubicBezTo>
                        <a:cubicBezTo>
                          <a:pt x="6784494" y="3357173"/>
                          <a:pt x="6622605" y="3321608"/>
                          <a:pt x="6468275" y="3326567"/>
                        </a:cubicBezTo>
                        <a:cubicBezTo>
                          <a:pt x="6313945" y="3331526"/>
                          <a:pt x="6136578" y="3281359"/>
                          <a:pt x="6026199" y="3326567"/>
                        </a:cubicBezTo>
                        <a:cubicBezTo>
                          <a:pt x="5915820" y="3371775"/>
                          <a:pt x="5493880" y="3247007"/>
                          <a:pt x="5304916" y="3326567"/>
                        </a:cubicBezTo>
                        <a:cubicBezTo>
                          <a:pt x="5115952" y="3406127"/>
                          <a:pt x="4979789" y="3309488"/>
                          <a:pt x="4723237" y="3326567"/>
                        </a:cubicBezTo>
                        <a:cubicBezTo>
                          <a:pt x="4466685" y="3343646"/>
                          <a:pt x="4427202" y="3290966"/>
                          <a:pt x="4350962" y="3326567"/>
                        </a:cubicBezTo>
                        <a:cubicBezTo>
                          <a:pt x="4274723" y="3362168"/>
                          <a:pt x="3984878" y="3321274"/>
                          <a:pt x="3769283" y="3326567"/>
                        </a:cubicBezTo>
                        <a:cubicBezTo>
                          <a:pt x="3553688" y="3331860"/>
                          <a:pt x="3432978" y="3274900"/>
                          <a:pt x="3257405" y="3326567"/>
                        </a:cubicBezTo>
                        <a:cubicBezTo>
                          <a:pt x="3081832" y="3378234"/>
                          <a:pt x="2925549" y="3310292"/>
                          <a:pt x="2745527" y="3326567"/>
                        </a:cubicBezTo>
                        <a:cubicBezTo>
                          <a:pt x="2565505" y="3342842"/>
                          <a:pt x="2339606" y="3314594"/>
                          <a:pt x="2233649" y="3326567"/>
                        </a:cubicBezTo>
                        <a:cubicBezTo>
                          <a:pt x="2127692" y="3338540"/>
                          <a:pt x="1825575" y="3275797"/>
                          <a:pt x="1721771" y="3326567"/>
                        </a:cubicBezTo>
                        <a:cubicBezTo>
                          <a:pt x="1617967" y="3377337"/>
                          <a:pt x="1353945" y="3265261"/>
                          <a:pt x="1070290" y="3326567"/>
                        </a:cubicBezTo>
                        <a:cubicBezTo>
                          <a:pt x="786635" y="3387873"/>
                          <a:pt x="425019" y="3315397"/>
                          <a:pt x="0" y="3326567"/>
                        </a:cubicBezTo>
                        <a:cubicBezTo>
                          <a:pt x="-54544" y="3213401"/>
                          <a:pt x="44671" y="3029472"/>
                          <a:pt x="0" y="2871936"/>
                        </a:cubicBezTo>
                        <a:cubicBezTo>
                          <a:pt x="-44671" y="2714400"/>
                          <a:pt x="1100" y="2470013"/>
                          <a:pt x="0" y="2350774"/>
                        </a:cubicBezTo>
                        <a:cubicBezTo>
                          <a:pt x="-1100" y="2231535"/>
                          <a:pt x="44075" y="1966321"/>
                          <a:pt x="0" y="1763081"/>
                        </a:cubicBezTo>
                        <a:cubicBezTo>
                          <a:pt x="-44075" y="1559841"/>
                          <a:pt x="73563" y="1437133"/>
                          <a:pt x="0" y="1142121"/>
                        </a:cubicBezTo>
                        <a:cubicBezTo>
                          <a:pt x="-73563" y="847109"/>
                          <a:pt x="40617" y="834569"/>
                          <a:pt x="0" y="687491"/>
                        </a:cubicBezTo>
                        <a:cubicBezTo>
                          <a:pt x="-40617" y="540413"/>
                          <a:pt x="13416" y="242901"/>
                          <a:pt x="0" y="0"/>
                        </a:cubicBezTo>
                        <a:close/>
                      </a:path>
                      <a:path w="6980153" h="3326567" stroke="0" extrusionOk="0">
                        <a:moveTo>
                          <a:pt x="0" y="0"/>
                        </a:moveTo>
                        <a:cubicBezTo>
                          <a:pt x="140271" y="-7780"/>
                          <a:pt x="340304" y="30077"/>
                          <a:pt x="511878" y="0"/>
                        </a:cubicBezTo>
                        <a:cubicBezTo>
                          <a:pt x="683452" y="-30077"/>
                          <a:pt x="712449" y="41726"/>
                          <a:pt x="884153" y="0"/>
                        </a:cubicBezTo>
                        <a:cubicBezTo>
                          <a:pt x="1055858" y="-41726"/>
                          <a:pt x="1248460" y="59155"/>
                          <a:pt x="1605435" y="0"/>
                        </a:cubicBezTo>
                        <a:cubicBezTo>
                          <a:pt x="1962410" y="-59155"/>
                          <a:pt x="1870799" y="1800"/>
                          <a:pt x="2117313" y="0"/>
                        </a:cubicBezTo>
                        <a:cubicBezTo>
                          <a:pt x="2363827" y="-1800"/>
                          <a:pt x="2393948" y="19836"/>
                          <a:pt x="2629191" y="0"/>
                        </a:cubicBezTo>
                        <a:cubicBezTo>
                          <a:pt x="2864434" y="-19836"/>
                          <a:pt x="3130240" y="44661"/>
                          <a:pt x="3350473" y="0"/>
                        </a:cubicBezTo>
                        <a:cubicBezTo>
                          <a:pt x="3570706" y="-44661"/>
                          <a:pt x="3579282" y="52768"/>
                          <a:pt x="3792550" y="0"/>
                        </a:cubicBezTo>
                        <a:cubicBezTo>
                          <a:pt x="4005818" y="-52768"/>
                          <a:pt x="4310171" y="60080"/>
                          <a:pt x="4513832" y="0"/>
                        </a:cubicBezTo>
                        <a:cubicBezTo>
                          <a:pt x="4717493" y="-60080"/>
                          <a:pt x="5010132" y="16945"/>
                          <a:pt x="5235115" y="0"/>
                        </a:cubicBezTo>
                        <a:cubicBezTo>
                          <a:pt x="5460098" y="-16945"/>
                          <a:pt x="5608744" y="41140"/>
                          <a:pt x="5816794" y="0"/>
                        </a:cubicBezTo>
                        <a:cubicBezTo>
                          <a:pt x="6024844" y="-41140"/>
                          <a:pt x="6411253" y="93204"/>
                          <a:pt x="6980153" y="0"/>
                        </a:cubicBezTo>
                        <a:cubicBezTo>
                          <a:pt x="7029711" y="233693"/>
                          <a:pt x="6933795" y="323603"/>
                          <a:pt x="6980153" y="521162"/>
                        </a:cubicBezTo>
                        <a:cubicBezTo>
                          <a:pt x="7026511" y="718721"/>
                          <a:pt x="6952536" y="853447"/>
                          <a:pt x="6980153" y="975793"/>
                        </a:cubicBezTo>
                        <a:cubicBezTo>
                          <a:pt x="7007770" y="1098139"/>
                          <a:pt x="6937412" y="1337916"/>
                          <a:pt x="6980153" y="1530221"/>
                        </a:cubicBezTo>
                        <a:cubicBezTo>
                          <a:pt x="7022894" y="1722526"/>
                          <a:pt x="6955227" y="1933597"/>
                          <a:pt x="6980153" y="2084649"/>
                        </a:cubicBezTo>
                        <a:cubicBezTo>
                          <a:pt x="7005079" y="2235701"/>
                          <a:pt x="6966647" y="2496606"/>
                          <a:pt x="6980153" y="2639076"/>
                        </a:cubicBezTo>
                        <a:cubicBezTo>
                          <a:pt x="6993659" y="2781546"/>
                          <a:pt x="6918767" y="3038479"/>
                          <a:pt x="6980153" y="3326567"/>
                        </a:cubicBezTo>
                        <a:cubicBezTo>
                          <a:pt x="6779240" y="3393498"/>
                          <a:pt x="6528926" y="3284679"/>
                          <a:pt x="6328672" y="3326567"/>
                        </a:cubicBezTo>
                        <a:cubicBezTo>
                          <a:pt x="6128418" y="3368455"/>
                          <a:pt x="6136818" y="3286879"/>
                          <a:pt x="5956397" y="3326567"/>
                        </a:cubicBezTo>
                        <a:cubicBezTo>
                          <a:pt x="5775977" y="3366255"/>
                          <a:pt x="5651704" y="3302221"/>
                          <a:pt x="5514321" y="3326567"/>
                        </a:cubicBezTo>
                        <a:cubicBezTo>
                          <a:pt x="5376938" y="3350913"/>
                          <a:pt x="5021531" y="3251271"/>
                          <a:pt x="4793038" y="3326567"/>
                        </a:cubicBezTo>
                        <a:cubicBezTo>
                          <a:pt x="4564545" y="3401863"/>
                          <a:pt x="4330167" y="3299290"/>
                          <a:pt x="4211359" y="3326567"/>
                        </a:cubicBezTo>
                        <a:cubicBezTo>
                          <a:pt x="4092551" y="3353844"/>
                          <a:pt x="3953997" y="3317047"/>
                          <a:pt x="3769283" y="3326567"/>
                        </a:cubicBezTo>
                        <a:cubicBezTo>
                          <a:pt x="3584569" y="3336087"/>
                          <a:pt x="3314969" y="3316691"/>
                          <a:pt x="3187603" y="3326567"/>
                        </a:cubicBezTo>
                        <a:cubicBezTo>
                          <a:pt x="3060237" y="3336443"/>
                          <a:pt x="2934870" y="3325994"/>
                          <a:pt x="2815328" y="3326567"/>
                        </a:cubicBezTo>
                        <a:cubicBezTo>
                          <a:pt x="2695787" y="3327140"/>
                          <a:pt x="2554187" y="3315589"/>
                          <a:pt x="2443054" y="3326567"/>
                        </a:cubicBezTo>
                        <a:cubicBezTo>
                          <a:pt x="2331921" y="3337545"/>
                          <a:pt x="2100862" y="3265370"/>
                          <a:pt x="1861374" y="3326567"/>
                        </a:cubicBezTo>
                        <a:cubicBezTo>
                          <a:pt x="1621886" y="3387764"/>
                          <a:pt x="1516106" y="3314359"/>
                          <a:pt x="1419298" y="3326567"/>
                        </a:cubicBezTo>
                        <a:cubicBezTo>
                          <a:pt x="1322490" y="3338775"/>
                          <a:pt x="982784" y="3315115"/>
                          <a:pt x="767817" y="3326567"/>
                        </a:cubicBezTo>
                        <a:cubicBezTo>
                          <a:pt x="552850" y="3338019"/>
                          <a:pt x="307318" y="3253943"/>
                          <a:pt x="0" y="3326567"/>
                        </a:cubicBezTo>
                        <a:cubicBezTo>
                          <a:pt x="-41842" y="3091361"/>
                          <a:pt x="11279" y="2878143"/>
                          <a:pt x="0" y="2738873"/>
                        </a:cubicBezTo>
                        <a:cubicBezTo>
                          <a:pt x="-11279" y="2599603"/>
                          <a:pt x="53793" y="2342293"/>
                          <a:pt x="0" y="2151180"/>
                        </a:cubicBezTo>
                        <a:cubicBezTo>
                          <a:pt x="-53793" y="1960067"/>
                          <a:pt x="17977" y="1850798"/>
                          <a:pt x="0" y="1663284"/>
                        </a:cubicBezTo>
                        <a:cubicBezTo>
                          <a:pt x="-17977" y="1475770"/>
                          <a:pt x="59982" y="1303545"/>
                          <a:pt x="0" y="1075590"/>
                        </a:cubicBezTo>
                        <a:cubicBezTo>
                          <a:pt x="-59982" y="847635"/>
                          <a:pt x="125572" y="40900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37134879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49F0C46-789D-4B61-AD3C-C19883A5B464}"/>
              </a:ext>
            </a:extLst>
          </p:cNvPr>
          <p:cNvSpPr/>
          <p:nvPr/>
        </p:nvSpPr>
        <p:spPr>
          <a:xfrm>
            <a:off x="4368800" y="1550189"/>
            <a:ext cx="454480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31F2EB-1928-4D5A-895B-E6DB7F0FB14A}"/>
              </a:ext>
            </a:extLst>
          </p:cNvPr>
          <p:cNvSpPr/>
          <p:nvPr/>
        </p:nvSpPr>
        <p:spPr>
          <a:xfrm>
            <a:off x="2403001" y="2720448"/>
            <a:ext cx="1847850" cy="561021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TTP Request</a:t>
            </a:r>
          </a:p>
        </p:txBody>
      </p:sp>
      <p:pic>
        <p:nvPicPr>
          <p:cNvPr id="3078" name="Picture 6" descr="Was ist Docker? | AWS">
            <a:extLst>
              <a:ext uri="{FF2B5EF4-FFF2-40B4-BE49-F238E27FC236}">
                <a16:creationId xmlns:a16="http://schemas.microsoft.com/office/drawing/2014/main" id="{9DDDE059-06DF-469F-A419-D7C6630B9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348" y="1569234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513A2BF-86AD-40DD-B0EF-9A66675B72B1}"/>
              </a:ext>
            </a:extLst>
          </p:cNvPr>
          <p:cNvSpPr txBox="1"/>
          <p:nvPr/>
        </p:nvSpPr>
        <p:spPr>
          <a:xfrm>
            <a:off x="692524" y="779929"/>
            <a:ext cx="720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http-request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705BA7F-CC23-4745-9E73-BDFDE2C6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8104" y="1985112"/>
            <a:ext cx="626920" cy="62692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DF3DD59A-177C-4613-8EEF-8A4EA24CDADB}"/>
              </a:ext>
            </a:extLst>
          </p:cNvPr>
          <p:cNvSpPr txBox="1"/>
          <p:nvPr/>
        </p:nvSpPr>
        <p:spPr>
          <a:xfrm>
            <a:off x="6015786" y="1808675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3C4A0446-45BE-4262-A4E5-857598BE4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2452" y="3227074"/>
            <a:ext cx="626920" cy="62692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B5150B33-9F30-49A2-92B9-34BB269CC4EA}"/>
              </a:ext>
            </a:extLst>
          </p:cNvPr>
          <p:cNvSpPr txBox="1"/>
          <p:nvPr/>
        </p:nvSpPr>
        <p:spPr>
          <a:xfrm>
            <a:off x="6040134" y="305063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DD16C698-0607-4BB3-908D-FB7860194D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2190" y="2429136"/>
            <a:ext cx="883435" cy="88343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6F0A6C1-3925-4F2E-8B7D-571056E3DA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7261" y="2393780"/>
            <a:ext cx="966635" cy="966635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6180AE2A-3765-4C8C-B9F6-1FB04CB147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4627" y="2367735"/>
            <a:ext cx="1018724" cy="1018724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1F98A03-F5F2-4C83-9C04-AE561C4E69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94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8592B0-3549-40AE-9F88-38A678A26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320" y="2152342"/>
            <a:ext cx="6924312" cy="318549"/>
          </a:xfrm>
          <a:ln w="44450">
            <a:gradFill flip="none" rotWithShape="1">
              <a:gsLst>
                <a:gs pos="26566">
                  <a:srgbClr val="FEE1CD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txBody>
          <a:bodyPr/>
          <a:lstStyle/>
          <a:p>
            <a:pPr algn="ctr"/>
            <a:r>
              <a:rPr lang="de-DE" sz="1800" dirty="0"/>
              <a:t>Welche der Instanz(en) erhält die Nachricht?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5C3F8F-7356-47F1-811C-227F490E19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3F9E8D2-D01C-4420-9F13-898EE190D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437718D-C257-409B-A778-0E0768A0C1A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FD6AB9-7AAD-4DD7-BA14-524731572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98029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49F0C46-789D-4B61-AD3C-C19883A5B464}"/>
              </a:ext>
            </a:extLst>
          </p:cNvPr>
          <p:cNvSpPr/>
          <p:nvPr/>
        </p:nvSpPr>
        <p:spPr>
          <a:xfrm>
            <a:off x="4368800" y="1550189"/>
            <a:ext cx="454480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31F2EB-1928-4D5A-895B-E6DB7F0FB14A}"/>
              </a:ext>
            </a:extLst>
          </p:cNvPr>
          <p:cNvSpPr/>
          <p:nvPr/>
        </p:nvSpPr>
        <p:spPr>
          <a:xfrm>
            <a:off x="1329928" y="2640883"/>
            <a:ext cx="1847850" cy="561021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TTP Request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64E43500-A74E-4A93-8510-8223D1D8C053}"/>
              </a:ext>
            </a:extLst>
          </p:cNvPr>
          <p:cNvSpPr/>
          <p:nvPr/>
        </p:nvSpPr>
        <p:spPr>
          <a:xfrm>
            <a:off x="3500815" y="2847486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7CC0831B-C0F3-4199-B12F-EBB26D750B03}"/>
              </a:ext>
            </a:extLst>
          </p:cNvPr>
          <p:cNvSpPr/>
          <p:nvPr/>
        </p:nvSpPr>
        <p:spPr>
          <a:xfrm rot="19935346">
            <a:off x="4694029" y="2461002"/>
            <a:ext cx="605817" cy="212243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78" name="Picture 6" descr="Was ist Docker? | AWS">
            <a:extLst>
              <a:ext uri="{FF2B5EF4-FFF2-40B4-BE49-F238E27FC236}">
                <a16:creationId xmlns:a16="http://schemas.microsoft.com/office/drawing/2014/main" id="{9DDDE059-06DF-469F-A419-D7C6630B9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348" y="1569234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513A2BF-86AD-40DD-B0EF-9A66675B72B1}"/>
              </a:ext>
            </a:extLst>
          </p:cNvPr>
          <p:cNvSpPr txBox="1"/>
          <p:nvPr/>
        </p:nvSpPr>
        <p:spPr>
          <a:xfrm>
            <a:off x="692524" y="779929"/>
            <a:ext cx="720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http-request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705BA7F-CC23-4745-9E73-BDFDE2C6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8104" y="1985112"/>
            <a:ext cx="626920" cy="62692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DF3DD59A-177C-4613-8EEF-8A4EA24CDADB}"/>
              </a:ext>
            </a:extLst>
          </p:cNvPr>
          <p:cNvSpPr txBox="1"/>
          <p:nvPr/>
        </p:nvSpPr>
        <p:spPr>
          <a:xfrm>
            <a:off x="6015786" y="1808675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3C4A0446-45BE-4262-A4E5-857598BE4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2452" y="3227074"/>
            <a:ext cx="626920" cy="62692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B5150B33-9F30-49A2-92B9-34BB269CC4EA}"/>
              </a:ext>
            </a:extLst>
          </p:cNvPr>
          <p:cNvSpPr txBox="1"/>
          <p:nvPr/>
        </p:nvSpPr>
        <p:spPr>
          <a:xfrm>
            <a:off x="6040134" y="305063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DD16C698-0607-4BB3-908D-FB7860194D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2190" y="2429136"/>
            <a:ext cx="883435" cy="883435"/>
          </a:xfrm>
          <a:prstGeom prst="rect">
            <a:avLst/>
          </a:prstGeom>
        </p:spPr>
      </p:pic>
      <p:sp>
        <p:nvSpPr>
          <p:cNvPr id="26" name="Pfeil: nach rechts 25">
            <a:extLst>
              <a:ext uri="{FF2B5EF4-FFF2-40B4-BE49-F238E27FC236}">
                <a16:creationId xmlns:a16="http://schemas.microsoft.com/office/drawing/2014/main" id="{5A327EF2-3494-4349-A1FA-83535A92272A}"/>
              </a:ext>
            </a:extLst>
          </p:cNvPr>
          <p:cNvSpPr/>
          <p:nvPr/>
        </p:nvSpPr>
        <p:spPr>
          <a:xfrm rot="1515711">
            <a:off x="6895701" y="2480725"/>
            <a:ext cx="896829" cy="192628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1F98A03-F5F2-4C83-9C04-AE561C4E69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2425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</a:t>
            </a:r>
            <a:r>
              <a:rPr lang="de-DE" dirty="0" err="1"/>
              <a:t>point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poin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2918012" y="1398865"/>
            <a:ext cx="5901988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792" y="139590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91641" y="2385326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3201459-84A4-480F-B701-09C6743C15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1781576"/>
            <a:ext cx="626920" cy="62692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756740B2-68F7-4420-B32B-7A1A4C9D88A3}"/>
              </a:ext>
            </a:extLst>
          </p:cNvPr>
          <p:cNvSpPr txBox="1"/>
          <p:nvPr/>
        </p:nvSpPr>
        <p:spPr>
          <a:xfrm>
            <a:off x="5447540" y="1605139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B418E42-572E-4B15-8B5F-74BC013664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3178034"/>
            <a:ext cx="626920" cy="6269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72BB43D-FAE8-4CF4-BB8B-181BFA66A8B7}"/>
              </a:ext>
            </a:extLst>
          </p:cNvPr>
          <p:cNvSpPr txBox="1"/>
          <p:nvPr/>
        </p:nvSpPr>
        <p:spPr>
          <a:xfrm>
            <a:off x="5447540" y="300159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1845DCE2-2315-4B88-ACAD-BC1B820A3539}"/>
              </a:ext>
            </a:extLst>
          </p:cNvPr>
          <p:cNvSpPr/>
          <p:nvPr/>
        </p:nvSpPr>
        <p:spPr>
          <a:xfrm>
            <a:off x="3569277" y="2679511"/>
            <a:ext cx="806824" cy="18111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CDC559F-F387-4B7C-B023-C452284A21F7}"/>
              </a:ext>
            </a:extLst>
          </p:cNvPr>
          <p:cNvSpPr/>
          <p:nvPr/>
        </p:nvSpPr>
        <p:spPr>
          <a:xfrm>
            <a:off x="1908598" y="2609345"/>
            <a:ext cx="1446444" cy="3214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ynchrone Nachricht</a:t>
            </a:r>
          </a:p>
        </p:txBody>
      </p:sp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7CB5DAA8-DDFA-4E42-A478-C4B72CBADBAC}"/>
              </a:ext>
            </a:extLst>
          </p:cNvPr>
          <p:cNvSpPr/>
          <p:nvPr/>
        </p:nvSpPr>
        <p:spPr>
          <a:xfrm rot="19732694">
            <a:off x="4547557" y="2297988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C76AF1C-AEF7-46E6-A2B7-DBD69F7571C7}"/>
              </a:ext>
            </a:extLst>
          </p:cNvPr>
          <p:cNvSpPr txBox="1"/>
          <p:nvPr/>
        </p:nvSpPr>
        <p:spPr>
          <a:xfrm>
            <a:off x="369794" y="652182"/>
            <a:ext cx="7113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queue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9905C22-1CB2-42E5-9A6F-CBD254B2DD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9684" y="2357759"/>
            <a:ext cx="883435" cy="883435"/>
          </a:xfrm>
          <a:prstGeom prst="rect">
            <a:avLst/>
          </a:prstGeom>
        </p:spPr>
      </p:pic>
      <p:sp>
        <p:nvSpPr>
          <p:cNvPr id="30" name="Pfeil: nach rechts 29">
            <a:extLst>
              <a:ext uri="{FF2B5EF4-FFF2-40B4-BE49-F238E27FC236}">
                <a16:creationId xmlns:a16="http://schemas.microsoft.com/office/drawing/2014/main" id="{33CAAE3E-8C1B-490C-8E45-F4B0A1EE8334}"/>
              </a:ext>
            </a:extLst>
          </p:cNvPr>
          <p:cNvSpPr/>
          <p:nvPr/>
        </p:nvSpPr>
        <p:spPr>
          <a:xfrm rot="1652410">
            <a:off x="6424380" y="2317197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4E0885AE-779F-436B-9B22-BFC99D2FE7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8464" y="2265794"/>
            <a:ext cx="966635" cy="966635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7F3ABFF8-2FA5-4F61-8AEA-9828371BF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5830" y="2239749"/>
            <a:ext cx="1018724" cy="101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385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090268-A2D0-494D-990A-566CAC0486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1901" y="587306"/>
            <a:ext cx="7815473" cy="703847"/>
          </a:xfrm>
        </p:spPr>
        <p:txBody>
          <a:bodyPr/>
          <a:lstStyle/>
          <a:p>
            <a:r>
              <a:rPr lang="de-DE" dirty="0"/>
              <a:t>Ein Digitales Rückgrat zur funktionalen Vernetzung, von Geschäftsanwendungen um eine nahtlose Interaktion mit Geschäftsdaten zu ermöglichen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C55EE3-EEDD-474C-AE51-160BB286AA8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0EC0E5-AE05-4AFE-A76D-AF842A6C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dee vom </a:t>
            </a:r>
            <a:r>
              <a:rPr lang="de-DE" dirty="0" err="1"/>
              <a:t>DigiSpin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A307D80-1259-4D77-BE99-DC9E1B56639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A16D749-1848-4985-BAD4-0BF2FF6CD0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CA61E7A-4902-47F0-9D04-AA1F879E5D1E}"/>
              </a:ext>
            </a:extLst>
          </p:cNvPr>
          <p:cNvSpPr/>
          <p:nvPr/>
        </p:nvSpPr>
        <p:spPr>
          <a:xfrm>
            <a:off x="374103" y="1602266"/>
            <a:ext cx="8305794" cy="472741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DIGISPINE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F4B33AAA-8246-41AC-AA30-CD915D27C926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1687640" y="2088065"/>
            <a:ext cx="0" cy="740465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147F059D-CB9A-48B3-90A9-C93E347BD59A}"/>
              </a:ext>
            </a:extLst>
          </p:cNvPr>
          <p:cNvSpPr/>
          <p:nvPr/>
        </p:nvSpPr>
        <p:spPr>
          <a:xfrm>
            <a:off x="740336" y="2828530"/>
            <a:ext cx="1894608" cy="105295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E595963-DFB1-4E4B-B9CF-FD6AA14D478E}"/>
              </a:ext>
            </a:extLst>
          </p:cNvPr>
          <p:cNvSpPr/>
          <p:nvPr/>
        </p:nvSpPr>
        <p:spPr>
          <a:xfrm>
            <a:off x="3569277" y="2838081"/>
            <a:ext cx="1894608" cy="105295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26415F7-9258-44AD-8525-8FE9B41DCF8C}"/>
              </a:ext>
            </a:extLst>
          </p:cNvPr>
          <p:cNvCxnSpPr>
            <a:cxnSpLocks/>
          </p:cNvCxnSpPr>
          <p:nvPr/>
        </p:nvCxnSpPr>
        <p:spPr>
          <a:xfrm flipV="1">
            <a:off x="4516581" y="2088065"/>
            <a:ext cx="0" cy="740465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7EF8454-43EA-4B96-A1DA-179FD23B4677}"/>
              </a:ext>
            </a:extLst>
          </p:cNvPr>
          <p:cNvSpPr/>
          <p:nvPr/>
        </p:nvSpPr>
        <p:spPr>
          <a:xfrm>
            <a:off x="6398219" y="2838081"/>
            <a:ext cx="1894608" cy="105295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94B1E23E-1350-4C35-A8BE-E885EA5DFD13}"/>
              </a:ext>
            </a:extLst>
          </p:cNvPr>
          <p:cNvCxnSpPr>
            <a:cxnSpLocks/>
          </p:cNvCxnSpPr>
          <p:nvPr/>
        </p:nvCxnSpPr>
        <p:spPr>
          <a:xfrm flipV="1">
            <a:off x="7345523" y="2088065"/>
            <a:ext cx="0" cy="740465"/>
          </a:xfrm>
          <a:prstGeom prst="straightConnector1">
            <a:avLst/>
          </a:prstGeom>
          <a:ln w="19050"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D7B1DC35-5741-1D1B-05A1-9375071CBE83}"/>
              </a:ext>
            </a:extLst>
          </p:cNvPr>
          <p:cNvSpPr txBox="1"/>
          <p:nvPr/>
        </p:nvSpPr>
        <p:spPr>
          <a:xfrm>
            <a:off x="1673049" y="2273631"/>
            <a:ext cx="1429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err="1"/>
              <a:t>Ergebnisse</a:t>
            </a:r>
            <a:r>
              <a:rPr lang="en-GB" sz="900" dirty="0"/>
              <a:t> der </a:t>
            </a:r>
            <a:r>
              <a:rPr lang="en-GB" sz="900" dirty="0" err="1"/>
              <a:t>Geschäftsanwendungen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989308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publish/</a:t>
            </a:r>
            <a:r>
              <a:rPr lang="de-DE" dirty="0" err="1"/>
              <a:t>subscrib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2918012" y="1398865"/>
            <a:ext cx="5901988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792" y="139590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91641" y="2385326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3201459-84A4-480F-B701-09C6743C15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1781576"/>
            <a:ext cx="626920" cy="62692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756740B2-68F7-4420-B32B-7A1A4C9D88A3}"/>
              </a:ext>
            </a:extLst>
          </p:cNvPr>
          <p:cNvSpPr txBox="1"/>
          <p:nvPr/>
        </p:nvSpPr>
        <p:spPr>
          <a:xfrm>
            <a:off x="5447540" y="1605139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B418E42-572E-4B15-8B5F-74BC013664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3178034"/>
            <a:ext cx="626920" cy="6269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72BB43D-FAE8-4CF4-BB8B-181BFA66A8B7}"/>
              </a:ext>
            </a:extLst>
          </p:cNvPr>
          <p:cNvSpPr txBox="1"/>
          <p:nvPr/>
        </p:nvSpPr>
        <p:spPr>
          <a:xfrm>
            <a:off x="5447540" y="300159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1845DCE2-2315-4B88-ACAD-BC1B820A3539}"/>
              </a:ext>
            </a:extLst>
          </p:cNvPr>
          <p:cNvSpPr/>
          <p:nvPr/>
        </p:nvSpPr>
        <p:spPr>
          <a:xfrm>
            <a:off x="3569277" y="2679511"/>
            <a:ext cx="806824" cy="181117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opic</a:t>
            </a:r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CDC559F-F387-4B7C-B023-C452284A21F7}"/>
              </a:ext>
            </a:extLst>
          </p:cNvPr>
          <p:cNvSpPr/>
          <p:nvPr/>
        </p:nvSpPr>
        <p:spPr>
          <a:xfrm>
            <a:off x="1908598" y="2609345"/>
            <a:ext cx="1446444" cy="3214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ynchrone Nachricht</a:t>
            </a:r>
          </a:p>
        </p:txBody>
      </p:sp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7CB5DAA8-DDFA-4E42-A478-C4B72CBADBAC}"/>
              </a:ext>
            </a:extLst>
          </p:cNvPr>
          <p:cNvSpPr/>
          <p:nvPr/>
        </p:nvSpPr>
        <p:spPr>
          <a:xfrm rot="19732694">
            <a:off x="4547557" y="2297988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C76AF1C-AEF7-46E6-A2B7-DBD69F7571C7}"/>
              </a:ext>
            </a:extLst>
          </p:cNvPr>
          <p:cNvSpPr txBox="1"/>
          <p:nvPr/>
        </p:nvSpPr>
        <p:spPr>
          <a:xfrm>
            <a:off x="369794" y="652182"/>
            <a:ext cx="7113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topic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DEBF8F1-B33F-4C94-B11B-66DE362AE5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7486" y="2260827"/>
            <a:ext cx="883435" cy="883435"/>
          </a:xfrm>
          <a:prstGeom prst="rect">
            <a:avLst/>
          </a:prstGeom>
        </p:spPr>
      </p:pic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30EEBE30-108D-4190-A788-B6F7D72FDF67}"/>
              </a:ext>
            </a:extLst>
          </p:cNvPr>
          <p:cNvSpPr/>
          <p:nvPr/>
        </p:nvSpPr>
        <p:spPr>
          <a:xfrm rot="1621463">
            <a:off x="6314880" y="2244867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9DDEDB7-6377-42FC-9E77-FA7E6C4328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81134" y="2260706"/>
            <a:ext cx="1018724" cy="101872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7F546EE-46F6-4446-9487-FFC229B52C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5526" y="2239369"/>
            <a:ext cx="940453" cy="94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232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publish/</a:t>
            </a:r>
            <a:r>
              <a:rPr lang="de-DE" dirty="0" err="1"/>
              <a:t>subscribe</a:t>
            </a:r>
            <a:r>
              <a:rPr lang="de-DE" dirty="0"/>
              <a:t> seit JMS 2.0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C5D443-1F83-4470-95DB-9ED2814C4167}"/>
              </a:ext>
            </a:extLst>
          </p:cNvPr>
          <p:cNvSpPr/>
          <p:nvPr/>
        </p:nvSpPr>
        <p:spPr>
          <a:xfrm>
            <a:off x="593313" y="1486689"/>
            <a:ext cx="6086693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9" name="Picture 6" descr="Apache ActiveMQ – Wikipedia">
            <a:extLst>
              <a:ext uri="{FF2B5EF4-FFF2-40B4-BE49-F238E27FC236}">
                <a16:creationId xmlns:a16="http://schemas.microsoft.com/office/drawing/2014/main" id="{B6B1E23B-ED2F-4863-A755-27DE9D3A9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402" y="2368767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9C1E9D44-B346-4FF5-9B6F-814D9784BE0C}"/>
              </a:ext>
            </a:extLst>
          </p:cNvPr>
          <p:cNvSpPr/>
          <p:nvPr/>
        </p:nvSpPr>
        <p:spPr>
          <a:xfrm>
            <a:off x="7146535" y="2444555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1" name="Pfeil: nach links 30">
            <a:extLst>
              <a:ext uri="{FF2B5EF4-FFF2-40B4-BE49-F238E27FC236}">
                <a16:creationId xmlns:a16="http://schemas.microsoft.com/office/drawing/2014/main" id="{E177694E-8146-4B28-B0FB-750CE8883E97}"/>
              </a:ext>
            </a:extLst>
          </p:cNvPr>
          <p:cNvSpPr/>
          <p:nvPr/>
        </p:nvSpPr>
        <p:spPr>
          <a:xfrm>
            <a:off x="6215235" y="267885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F258EF1-6D1A-433D-A0F1-589997073950}"/>
              </a:ext>
            </a:extLst>
          </p:cNvPr>
          <p:cNvSpPr/>
          <p:nvPr/>
        </p:nvSpPr>
        <p:spPr>
          <a:xfrm>
            <a:off x="3392939" y="2074183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56AC90B6-91B5-479A-9D29-7D9F6F2B06E2}"/>
              </a:ext>
            </a:extLst>
          </p:cNvPr>
          <p:cNvSpPr/>
          <p:nvPr/>
        </p:nvSpPr>
        <p:spPr>
          <a:xfrm>
            <a:off x="3392939" y="3269712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AA4E493F-8F9E-484B-A395-23653D707A11}"/>
              </a:ext>
            </a:extLst>
          </p:cNvPr>
          <p:cNvSpPr/>
          <p:nvPr/>
        </p:nvSpPr>
        <p:spPr>
          <a:xfrm>
            <a:off x="4355427" y="2682719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opic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CC89DA4-C1AE-4940-9443-81B3F78F58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9666" y="1930717"/>
            <a:ext cx="626920" cy="62692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23357E4A-143F-4EAC-B51B-B610249AADF7}"/>
              </a:ext>
            </a:extLst>
          </p:cNvPr>
          <p:cNvSpPr txBox="1"/>
          <p:nvPr/>
        </p:nvSpPr>
        <p:spPr>
          <a:xfrm>
            <a:off x="1627348" y="1754280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1DF7ECE-F7D1-4640-AC52-7D2A8F4C934F}"/>
              </a:ext>
            </a:extLst>
          </p:cNvPr>
          <p:cNvSpPr txBox="1"/>
          <p:nvPr/>
        </p:nvSpPr>
        <p:spPr>
          <a:xfrm>
            <a:off x="593313" y="658906"/>
            <a:ext cx="18204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hare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abl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196375F-5D21-4075-BC5B-3BF127CA67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9666" y="3269712"/>
            <a:ext cx="626920" cy="6269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597D6F80-36FB-422C-ADB6-FF93513A24AF}"/>
              </a:ext>
            </a:extLst>
          </p:cNvPr>
          <p:cNvSpPr txBox="1"/>
          <p:nvPr/>
        </p:nvSpPr>
        <p:spPr>
          <a:xfrm>
            <a:off x="1627348" y="3093275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985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31" grpId="0" animBg="1"/>
      <p:bldP spid="1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3CFDB1-A015-4CD6-9277-ED0736F0FD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9701A5-1A94-4528-9FE0-56581A1141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31B94F-DE47-4F93-BCEF-92FC634363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2F2F70-84B2-420E-91AF-AFD24D6C60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66A860-2904-44ED-9C7D-F67BB8982A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97C8AEB-018A-4679-9F45-D4BE22B1B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A6A1F39-CFD0-4C81-A1E4-46E5BE3DF6D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F8654CC-A999-418D-8625-00E5509F6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9886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20BB87A-DEC4-4C05-AE2C-7D21782E34C4}"/>
              </a:ext>
            </a:extLst>
          </p:cNvPr>
          <p:cNvSpPr/>
          <p:nvPr/>
        </p:nvSpPr>
        <p:spPr>
          <a:xfrm>
            <a:off x="3313482" y="2639762"/>
            <a:ext cx="2617627" cy="164186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4526BC2-CD4B-488B-A412-3E30BB5E4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1510684"/>
            <a:ext cx="8586000" cy="315471"/>
          </a:xfrm>
        </p:spPr>
        <p:txBody>
          <a:bodyPr/>
          <a:lstStyle/>
          <a:p>
            <a:pPr algn="ctr"/>
            <a:r>
              <a:rPr lang="de-DE" dirty="0"/>
              <a:t>Einbindung ins DIGISP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435B99-AE21-4294-9F14-4490005ABC4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6575192" y="4822200"/>
            <a:ext cx="108034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3429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3429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F4349-91B6-443F-9E78-AF67C81FB269}" type="datetime1">
              <a:rPr lang="de-DE" smtClean="0"/>
              <a:pPr/>
              <a:t>28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97D163-B0DB-4074-9C64-9AF503F4592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56001" y="4811566"/>
            <a:ext cx="5712000" cy="248786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lnSpc>
                <a:spcPts val="1350"/>
              </a:lnSpc>
              <a:defRPr sz="1000" kern="12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FE61E2-229F-4B59-B3C1-9E9BDD9153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3429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3429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97E1D9-0739-E445-A7FF-39998847AB6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D4B09CA-A9B1-401A-9636-5F8E7F913199}"/>
              </a:ext>
            </a:extLst>
          </p:cNvPr>
          <p:cNvSpPr/>
          <p:nvPr/>
        </p:nvSpPr>
        <p:spPr>
          <a:xfrm>
            <a:off x="419103" y="1541408"/>
            <a:ext cx="8305794" cy="472741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DIGISPI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191E68C-EE5E-4A86-AE3E-904F3054B1BD}"/>
              </a:ext>
            </a:extLst>
          </p:cNvPr>
          <p:cNvSpPr/>
          <p:nvPr/>
        </p:nvSpPr>
        <p:spPr>
          <a:xfrm>
            <a:off x="4049097" y="2722789"/>
            <a:ext cx="1052933" cy="5081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Kafka Connect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D0FB1D3-F9AF-433A-9BBE-27CBFA30BC49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5359071" y="2451768"/>
            <a:ext cx="335494" cy="8237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922F1343-08B1-4F07-9583-CA9683641868}"/>
              </a:ext>
            </a:extLst>
          </p:cNvPr>
          <p:cNvSpPr/>
          <p:nvPr/>
        </p:nvSpPr>
        <p:spPr>
          <a:xfrm>
            <a:off x="3878440" y="3419669"/>
            <a:ext cx="1387120" cy="337186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ctiveMQ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438BE74-79EC-452C-A0BA-5A726BFEBA54}"/>
              </a:ext>
            </a:extLst>
          </p:cNvPr>
          <p:cNvSpPr/>
          <p:nvPr/>
        </p:nvSpPr>
        <p:spPr>
          <a:xfrm>
            <a:off x="5205685" y="3855871"/>
            <a:ext cx="279400" cy="2487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8296668-5B94-4D3D-9858-EAA585E12B14}"/>
              </a:ext>
            </a:extLst>
          </p:cNvPr>
          <p:cNvSpPr/>
          <p:nvPr/>
        </p:nvSpPr>
        <p:spPr>
          <a:xfrm>
            <a:off x="4435864" y="3848000"/>
            <a:ext cx="279400" cy="2487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155AD95-2BAF-4BBC-9742-338863B3DD7D}"/>
              </a:ext>
            </a:extLst>
          </p:cNvPr>
          <p:cNvSpPr/>
          <p:nvPr/>
        </p:nvSpPr>
        <p:spPr>
          <a:xfrm>
            <a:off x="3547623" y="3851717"/>
            <a:ext cx="279400" cy="2487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72BBF8E-774B-4AA1-98DE-E3405065274D}"/>
              </a:ext>
            </a:extLst>
          </p:cNvPr>
          <p:cNvSpPr txBox="1"/>
          <p:nvPr/>
        </p:nvSpPr>
        <p:spPr>
          <a:xfrm>
            <a:off x="4337982" y="4241962"/>
            <a:ext cx="5629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rgbClr val="00B0F0"/>
                </a:solidFill>
              </a:rPr>
              <a:t>REST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B96E3BD-A981-4B81-9B93-69D449D2C675}"/>
              </a:ext>
            </a:extLst>
          </p:cNvPr>
          <p:cNvSpPr txBox="1"/>
          <p:nvPr/>
        </p:nvSpPr>
        <p:spPr>
          <a:xfrm>
            <a:off x="4691007" y="2190158"/>
            <a:ext cx="20071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FF0000"/>
                </a:solidFill>
              </a:rPr>
              <a:t>Verteilte Systeme-Worksho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C23B361B-E659-4D27-AE19-A2B8F8A431FC}"/>
              </a:ext>
            </a:extLst>
          </p:cNvPr>
          <p:cNvCxnSpPr>
            <a:cxnSpLocks/>
            <a:stCxn id="12" idx="0"/>
            <a:endCxn id="7" idx="2"/>
          </p:cNvCxnSpPr>
          <p:nvPr/>
        </p:nvCxnSpPr>
        <p:spPr>
          <a:xfrm flipH="1" flipV="1">
            <a:off x="4572000" y="2014149"/>
            <a:ext cx="3564" cy="70864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B6EF275D-B780-411D-AC3C-53D17C45FB2A}"/>
              </a:ext>
            </a:extLst>
          </p:cNvPr>
          <p:cNvCxnSpPr/>
          <p:nvPr/>
        </p:nvCxnSpPr>
        <p:spPr>
          <a:xfrm flipV="1">
            <a:off x="4587610" y="4448608"/>
            <a:ext cx="0" cy="20320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14803CF-8E5C-401F-853D-90A5EDF7CBF0}"/>
              </a:ext>
            </a:extLst>
          </p:cNvPr>
          <p:cNvCxnSpPr>
            <a:cxnSpLocks/>
            <a:stCxn id="38" idx="0"/>
          </p:cNvCxnSpPr>
          <p:nvPr/>
        </p:nvCxnSpPr>
        <p:spPr>
          <a:xfrm flipV="1">
            <a:off x="1712344" y="2044873"/>
            <a:ext cx="0" cy="58362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15817D00-39B7-45AA-A1DA-8E03B51DC68A}"/>
              </a:ext>
            </a:extLst>
          </p:cNvPr>
          <p:cNvCxnSpPr>
            <a:cxnSpLocks/>
            <a:endCxn id="40" idx="0"/>
          </p:cNvCxnSpPr>
          <p:nvPr/>
        </p:nvCxnSpPr>
        <p:spPr>
          <a:xfrm>
            <a:off x="7507624" y="2044873"/>
            <a:ext cx="3564" cy="614965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ACD2D3-A16A-4B3D-8E33-54412181C585}"/>
              </a:ext>
            </a:extLst>
          </p:cNvPr>
          <p:cNvCxnSpPr>
            <a:cxnSpLocks/>
            <a:stCxn id="20" idx="0"/>
            <a:endCxn id="12" idx="2"/>
          </p:cNvCxnSpPr>
          <p:nvPr/>
        </p:nvCxnSpPr>
        <p:spPr>
          <a:xfrm flipV="1">
            <a:off x="4572000" y="3230975"/>
            <a:ext cx="3564" cy="188694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78BFC55B-EAA0-4FA7-A944-070C5B6B03BE}"/>
              </a:ext>
            </a:extLst>
          </p:cNvPr>
          <p:cNvCxnSpPr>
            <a:cxnSpLocks/>
            <a:stCxn id="23" idx="0"/>
            <a:endCxn id="20" idx="3"/>
          </p:cNvCxnSpPr>
          <p:nvPr/>
        </p:nvCxnSpPr>
        <p:spPr>
          <a:xfrm flipV="1">
            <a:off x="3687323" y="3707475"/>
            <a:ext cx="394256" cy="144242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FD2CCEFB-2756-41A0-86B6-51E1D91E08D4}"/>
              </a:ext>
            </a:extLst>
          </p:cNvPr>
          <p:cNvCxnSpPr>
            <a:cxnSpLocks/>
            <a:stCxn id="22" idx="0"/>
            <a:endCxn id="20" idx="4"/>
          </p:cNvCxnSpPr>
          <p:nvPr/>
        </p:nvCxnSpPr>
        <p:spPr>
          <a:xfrm flipH="1" flipV="1">
            <a:off x="4572000" y="3756855"/>
            <a:ext cx="3564" cy="91145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799B8F71-6CAF-4711-8F58-68B5882A44BD}"/>
              </a:ext>
            </a:extLst>
          </p:cNvPr>
          <p:cNvCxnSpPr>
            <a:cxnSpLocks/>
            <a:stCxn id="21" idx="0"/>
            <a:endCxn id="20" idx="5"/>
          </p:cNvCxnSpPr>
          <p:nvPr/>
        </p:nvCxnSpPr>
        <p:spPr>
          <a:xfrm flipH="1" flipV="1">
            <a:off x="5062421" y="3707475"/>
            <a:ext cx="282964" cy="148396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BF963E20-D6FE-4C55-AA7D-C71D1E3CDC62}"/>
              </a:ext>
            </a:extLst>
          </p:cNvPr>
          <p:cNvSpPr/>
          <p:nvPr/>
        </p:nvSpPr>
        <p:spPr>
          <a:xfrm>
            <a:off x="403530" y="2628494"/>
            <a:ext cx="2617627" cy="164186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3B5C8F74-5AD2-40F0-B115-D4FB01B8E251}"/>
              </a:ext>
            </a:extLst>
          </p:cNvPr>
          <p:cNvSpPr/>
          <p:nvPr/>
        </p:nvSpPr>
        <p:spPr>
          <a:xfrm>
            <a:off x="6202375" y="2659838"/>
            <a:ext cx="2617626" cy="164186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F26C108-AE12-44EE-BF01-BF8B43C10D07}"/>
              </a:ext>
            </a:extLst>
          </p:cNvPr>
          <p:cNvSpPr/>
          <p:nvPr/>
        </p:nvSpPr>
        <p:spPr>
          <a:xfrm>
            <a:off x="3482716" y="3322796"/>
            <a:ext cx="2273508" cy="846666"/>
          </a:xfrm>
          <a:prstGeom prst="rect">
            <a:avLst/>
          </a:prstGeom>
          <a:noFill/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BB227B4F-B299-4232-8F39-F72224393BD1}"/>
              </a:ext>
            </a:extLst>
          </p:cNvPr>
          <p:cNvSpPr txBox="1"/>
          <p:nvPr/>
        </p:nvSpPr>
        <p:spPr>
          <a:xfrm>
            <a:off x="3223453" y="2393541"/>
            <a:ext cx="13099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Microservicesystem</a:t>
            </a:r>
          </a:p>
        </p:txBody>
      </p:sp>
      <p:sp>
        <p:nvSpPr>
          <p:cNvPr id="71" name="Inhaltsplatzhalter 1">
            <a:extLst>
              <a:ext uri="{FF2B5EF4-FFF2-40B4-BE49-F238E27FC236}">
                <a16:creationId xmlns:a16="http://schemas.microsoft.com/office/drawing/2014/main" id="{73D998B5-708F-2D50-D532-39DB50D62FD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430913"/>
          </a:xfrm>
        </p:spPr>
        <p:txBody>
          <a:bodyPr/>
          <a:lstStyle/>
          <a:p>
            <a:r>
              <a:rPr lang="de-DE" dirty="0"/>
              <a:t>Am Beispiel einer Microserviceumgebung, um die Konzepte des Nachrichtenaustausches zu verstehen, weil dort die relevante Daten drin stehen.</a:t>
            </a:r>
          </a:p>
        </p:txBody>
      </p:sp>
      <p:sp>
        <p:nvSpPr>
          <p:cNvPr id="72" name="Titel 2">
            <a:extLst>
              <a:ext uri="{FF2B5EF4-FFF2-40B4-BE49-F238E27FC236}">
                <a16:creationId xmlns:a16="http://schemas.microsoft.com/office/drawing/2014/main" id="{1C47F938-F3D6-9A8F-46D2-6618983C050B}"/>
              </a:ext>
            </a:extLst>
          </p:cNvPr>
          <p:cNvSpPr txBox="1">
            <a:spLocks/>
          </p:cNvSpPr>
          <p:nvPr/>
        </p:nvSpPr>
        <p:spPr>
          <a:xfrm>
            <a:off x="234000" y="97977"/>
            <a:ext cx="8586000" cy="315471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Ziel: Verteilte Systeme Workshop</a:t>
            </a:r>
          </a:p>
        </p:txBody>
      </p:sp>
    </p:spTree>
    <p:extLst>
      <p:ext uri="{BB962C8B-B14F-4D97-AF65-F5344CB8AC3E}">
        <p14:creationId xmlns:p14="http://schemas.microsoft.com/office/powerpoint/2010/main" val="2537934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1D82714-6955-4EE8-BF94-7984B6D1FDC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984678"/>
          </a:xfrm>
        </p:spPr>
        <p:txBody>
          <a:bodyPr/>
          <a:lstStyle/>
          <a:p>
            <a:r>
              <a:rPr lang="de-DE" dirty="0"/>
              <a:t>Ein System, in dem Hardware- oder Softwarekomponenten die sich auf vernetzten Computern befinden, ihre Aktionen nur über die Weitergabe von Nachrichten kommunizieren und koordinieren.</a:t>
            </a:r>
          </a:p>
          <a:p>
            <a:endParaRPr lang="de-DE" dirty="0"/>
          </a:p>
          <a:p>
            <a:r>
              <a:rPr lang="de-DE" dirty="0"/>
              <a:t>Schauen wir uns also anhand eines Beispiels an, wie so ein System aussehen kann.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35BDD93-0BC1-42B9-8449-F08C7718E9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ein Verteiltes System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53C0FF-331B-4016-B4E0-EA0A327BF0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8D02F2-EA9E-47FF-A42B-439AFB3166E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47FDAF-1059-452B-A4FA-AC0A95C3AC7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91F38C-8A2D-4C37-8956-5C261666AA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933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EC382FE-0917-773F-11D5-C0B7BC2F24D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9"/>
            <a:ext cx="8586787" cy="161246"/>
          </a:xfrm>
        </p:spPr>
        <p:txBody>
          <a:bodyPr/>
          <a:lstStyle/>
          <a:p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Kommunikation</a:t>
            </a:r>
            <a:r>
              <a:rPr lang="en-GB" dirty="0"/>
              <a:t> </a:t>
            </a:r>
            <a:r>
              <a:rPr lang="en-GB" dirty="0" err="1"/>
              <a:t>zwischen</a:t>
            </a:r>
            <a:r>
              <a:rPr lang="en-GB" dirty="0"/>
              <a:t> den Software </a:t>
            </a:r>
            <a:r>
              <a:rPr lang="en-GB" dirty="0" err="1"/>
              <a:t>Komponenten</a:t>
            </a:r>
            <a:r>
              <a:rPr lang="en-GB" dirty="0"/>
              <a:t> warden </a:t>
            </a:r>
            <a:r>
              <a:rPr lang="en-GB" dirty="0" err="1"/>
              <a:t>lediglich</a:t>
            </a:r>
            <a:r>
              <a:rPr lang="en-GB" dirty="0"/>
              <a:t> </a:t>
            </a:r>
            <a:r>
              <a:rPr lang="en-GB" dirty="0" err="1"/>
              <a:t>Nachrichten</a:t>
            </a:r>
            <a:r>
              <a:rPr lang="en-GB" dirty="0"/>
              <a:t> </a:t>
            </a:r>
            <a:r>
              <a:rPr lang="en-GB" dirty="0" err="1"/>
              <a:t>ausgetauscht</a:t>
            </a:r>
            <a:r>
              <a:rPr lang="en-GB" dirty="0"/>
              <a:t>.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157F8D-73F6-BBA6-4402-2B638C45D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AlarmIT</a:t>
            </a:r>
            <a:r>
              <a:rPr lang="en-GB" dirty="0"/>
              <a:t>: </a:t>
            </a:r>
            <a:r>
              <a:rPr lang="en-GB" dirty="0" err="1"/>
              <a:t>Umgebu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BDF1D4-D298-98C8-838B-45F6637A44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2C1761-61E7-2840-9955-42118C9E471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47FDAF-1059-452B-A4FA-AC0A95C3AC7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F7DE4DE-FE57-E7EE-2B3F-4ECA21DBC1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F7BFB88-F21F-5A4F-BECD-4AF3FC39F057}"/>
              </a:ext>
            </a:extLst>
          </p:cNvPr>
          <p:cNvGrpSpPr/>
          <p:nvPr/>
        </p:nvGrpSpPr>
        <p:grpSpPr>
          <a:xfrm>
            <a:off x="987389" y="1953500"/>
            <a:ext cx="2050980" cy="853201"/>
            <a:chOff x="637317" y="1967657"/>
            <a:chExt cx="2168704" cy="141018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19D18B2-8984-46BD-576B-74B8D2C15539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6D90AF43-A6FF-5357-0DE2-812B9868815F}"/>
                </a:ext>
              </a:extLst>
            </p:cNvPr>
            <p:cNvSpPr txBox="1"/>
            <p:nvPr/>
          </p:nvSpPr>
          <p:spPr>
            <a:xfrm>
              <a:off x="1116892" y="1967657"/>
              <a:ext cx="1203015" cy="1068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Level 1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7EC6C43F-CF73-2A35-742C-EA8E926A210A}"/>
                </a:ext>
              </a:extLst>
            </p:cNvPr>
            <p:cNvSpPr txBox="1"/>
            <p:nvPr/>
          </p:nvSpPr>
          <p:spPr>
            <a:xfrm>
              <a:off x="979475" y="2509416"/>
              <a:ext cx="1539142" cy="83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Schnittstelle die Daten von Analysegeräten Empfängt und Überträgt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0FDF195-E7EB-41E1-E23E-5E8F2084074C}"/>
              </a:ext>
            </a:extLst>
          </p:cNvPr>
          <p:cNvGrpSpPr/>
          <p:nvPr/>
        </p:nvGrpSpPr>
        <p:grpSpPr>
          <a:xfrm>
            <a:off x="2347028" y="3374609"/>
            <a:ext cx="2058611" cy="910399"/>
            <a:chOff x="3761903" y="1992733"/>
            <a:chExt cx="2172943" cy="1381281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738FFD6C-9F32-BD5D-3CA9-6D8E44F09D9F}"/>
                </a:ext>
              </a:extLst>
            </p:cNvPr>
            <p:cNvSpPr/>
            <p:nvPr/>
          </p:nvSpPr>
          <p:spPr>
            <a:xfrm>
              <a:off x="3766143" y="1992733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32DDE316-82EA-0F42-C69D-278AD49A41E1}"/>
                </a:ext>
              </a:extLst>
            </p:cNvPr>
            <p:cNvSpPr txBox="1"/>
            <p:nvPr/>
          </p:nvSpPr>
          <p:spPr>
            <a:xfrm>
              <a:off x="3761903" y="2067953"/>
              <a:ext cx="2168703" cy="6537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larmIT</a:t>
              </a:r>
              <a:endParaRPr lang="de-DE" b="1" dirty="0">
                <a:solidFill>
                  <a:schemeClr val="bg1"/>
                </a:solidFill>
              </a:endParaRP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[Software System]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49A5FB85-5CD9-A37C-399B-AE2ECDFA3C5E}"/>
                </a:ext>
              </a:extLst>
            </p:cNvPr>
            <p:cNvSpPr txBox="1"/>
            <p:nvPr/>
          </p:nvSpPr>
          <p:spPr>
            <a:xfrm>
              <a:off x="3884495" y="2589452"/>
              <a:ext cx="1940483" cy="770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Erstellt Warn- und Störungsmeldungen anhand von empfangenen Telegrammen</a:t>
              </a:r>
            </a:p>
          </p:txBody>
        </p: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C519D87-F4F8-8CFB-B206-9D352C989ECA}"/>
              </a:ext>
            </a:extLst>
          </p:cNvPr>
          <p:cNvCxnSpPr>
            <a:cxnSpLocks/>
          </p:cNvCxnSpPr>
          <p:nvPr/>
        </p:nvCxnSpPr>
        <p:spPr>
          <a:xfrm>
            <a:off x="2830608" y="2806701"/>
            <a:ext cx="0" cy="5503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A052BED-9679-AD5C-0C1C-DD2F720990AB}"/>
              </a:ext>
            </a:extLst>
          </p:cNvPr>
          <p:cNvGrpSpPr/>
          <p:nvPr/>
        </p:nvGrpSpPr>
        <p:grpSpPr>
          <a:xfrm>
            <a:off x="6439313" y="1682566"/>
            <a:ext cx="1426516" cy="1013623"/>
            <a:chOff x="7709480" y="2014036"/>
            <a:chExt cx="1595467" cy="1564341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AFB2F85-043A-8704-B35A-A6F7F36B9271}"/>
                </a:ext>
              </a:extLst>
            </p:cNvPr>
            <p:cNvGrpSpPr/>
            <p:nvPr/>
          </p:nvGrpSpPr>
          <p:grpSpPr>
            <a:xfrm>
              <a:off x="7768343" y="2014036"/>
              <a:ext cx="1536604" cy="1564341"/>
              <a:chOff x="7360821" y="4614542"/>
              <a:chExt cx="1231734" cy="1224594"/>
            </a:xfrm>
          </p:grpSpPr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4A16961A-FE94-1848-80AC-DAC6029C5F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7360822" y="4614542"/>
                <a:ext cx="1231733" cy="1224594"/>
              </a:xfrm>
              <a:prstGeom prst="rect">
                <a:avLst/>
              </a:prstGeom>
            </p:spPr>
          </p:pic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8194356D-52C3-A618-AB7D-2C86E49D158F}"/>
                  </a:ext>
                </a:extLst>
              </p:cNvPr>
              <p:cNvSpPr txBox="1"/>
              <p:nvPr/>
            </p:nvSpPr>
            <p:spPr>
              <a:xfrm>
                <a:off x="7360821" y="5069986"/>
                <a:ext cx="1231733" cy="5577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b="1" dirty="0">
                    <a:solidFill>
                      <a:schemeClr val="bg2"/>
                    </a:solidFill>
                  </a:rPr>
                  <a:t>Stahlwerkslabor Benutzer</a:t>
                </a:r>
              </a:p>
            </p:txBody>
          </p:sp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6C6F9D40-7954-DDC5-6B70-B7A6A1CEB2AC}"/>
                </a:ext>
              </a:extLst>
            </p:cNvPr>
            <p:cNvSpPr txBox="1"/>
            <p:nvPr/>
          </p:nvSpPr>
          <p:spPr>
            <a:xfrm>
              <a:off x="7709480" y="3185459"/>
              <a:ext cx="1595465" cy="264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85000"/>
                    </a:schemeClr>
                  </a:solidFill>
                </a:rPr>
                <a:t>Reagiert auf Meldungen</a:t>
              </a:r>
            </a:p>
          </p:txBody>
        </p: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3A5DFEC6-84BE-F004-8C7C-3CD3AC0199BA}"/>
              </a:ext>
            </a:extLst>
          </p:cNvPr>
          <p:cNvSpPr txBox="1"/>
          <p:nvPr/>
        </p:nvSpPr>
        <p:spPr>
          <a:xfrm>
            <a:off x="1916063" y="2856278"/>
            <a:ext cx="11223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endet Daten-Telegram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84D52C6-F97A-6AB7-F986-9A17A69A1391}"/>
              </a:ext>
            </a:extLst>
          </p:cNvPr>
          <p:cNvSpPr txBox="1"/>
          <p:nvPr/>
        </p:nvSpPr>
        <p:spPr>
          <a:xfrm>
            <a:off x="3905862" y="2795732"/>
            <a:ext cx="1014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Fragt Meldungen ab und übermittelt Befehle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584E93D-6660-BC8C-E13D-5F34BADC1C3E}"/>
              </a:ext>
            </a:extLst>
          </p:cNvPr>
          <p:cNvGrpSpPr/>
          <p:nvPr/>
        </p:nvGrpSpPr>
        <p:grpSpPr>
          <a:xfrm>
            <a:off x="3750044" y="1983594"/>
            <a:ext cx="1977594" cy="789622"/>
            <a:chOff x="657278" y="2032251"/>
            <a:chExt cx="2168704" cy="95744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A194689-BFC3-DD2C-1C4B-8064EDF2C7FE}"/>
                </a:ext>
              </a:extLst>
            </p:cNvPr>
            <p:cNvSpPr/>
            <p:nvPr/>
          </p:nvSpPr>
          <p:spPr>
            <a:xfrm>
              <a:off x="657278" y="2032251"/>
              <a:ext cx="2168704" cy="9574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CD22A282-A50D-04E2-D8F2-176368D2D8EC}"/>
                </a:ext>
              </a:extLst>
            </p:cNvPr>
            <p:cNvSpPr txBox="1"/>
            <p:nvPr/>
          </p:nvSpPr>
          <p:spPr>
            <a:xfrm>
              <a:off x="836926" y="2066602"/>
              <a:ext cx="1800596" cy="634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GUI</a:t>
              </a:r>
              <a:endPara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7FF67E60-0CBE-7FBB-6242-F784D479DF1C}"/>
                </a:ext>
              </a:extLst>
            </p:cNvPr>
            <p:cNvSpPr txBox="1"/>
            <p:nvPr/>
          </p:nvSpPr>
          <p:spPr>
            <a:xfrm>
              <a:off x="715282" y="2348266"/>
              <a:ext cx="2016203" cy="615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von </a:t>
              </a:r>
              <a:r>
                <a:rPr lang="de-DE" sz="900" dirty="0" err="1">
                  <a:solidFill>
                    <a:schemeClr val="bg1">
                      <a:lumMod val="95000"/>
                    </a:schemeClr>
                  </a:solidFill>
                </a:rPr>
                <a:t>AlarmIT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 über den Browser</a:t>
              </a:r>
              <a:endParaRPr lang="de-DE" sz="900" dirty="0">
                <a:solidFill>
                  <a:schemeClr val="bg2"/>
                </a:solidFill>
              </a:endParaRPr>
            </a:p>
          </p:txBody>
        </p:sp>
      </p:grp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0F571234-E2BD-526F-A714-4D396DB7726F}"/>
              </a:ext>
            </a:extLst>
          </p:cNvPr>
          <p:cNvCxnSpPr>
            <a:cxnSpLocks/>
          </p:cNvCxnSpPr>
          <p:nvPr/>
        </p:nvCxnSpPr>
        <p:spPr>
          <a:xfrm flipV="1">
            <a:off x="3941504" y="2752050"/>
            <a:ext cx="0" cy="622559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8ADD3F0D-702B-46D2-91DA-DEA96CEF93CB}"/>
              </a:ext>
            </a:extLst>
          </p:cNvPr>
          <p:cNvCxnSpPr>
            <a:cxnSpLocks/>
            <a:endCxn id="24" idx="3"/>
          </p:cNvCxnSpPr>
          <p:nvPr/>
        </p:nvCxnSpPr>
        <p:spPr>
          <a:xfrm flipH="1">
            <a:off x="5727638" y="2378405"/>
            <a:ext cx="759563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CC326C58-B7B9-B9AF-2193-E1C39A671378}"/>
              </a:ext>
            </a:extLst>
          </p:cNvPr>
          <p:cNvSpPr txBox="1"/>
          <p:nvPr/>
        </p:nvSpPr>
        <p:spPr>
          <a:xfrm>
            <a:off x="5600904" y="2056026"/>
            <a:ext cx="8647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Zeigt Meldungen an</a:t>
            </a:r>
          </a:p>
        </p:txBody>
      </p:sp>
    </p:spTree>
    <p:extLst>
      <p:ext uri="{BB962C8B-B14F-4D97-AF65-F5344CB8AC3E}">
        <p14:creationId xmlns:p14="http://schemas.microsoft.com/office/powerpoint/2010/main" val="778534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E12BEB-7DD9-4F47-9AEA-D237B31DE4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3335ED5-30E7-49E9-998D-441391C92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: Container Ebe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8E00E2-60B6-4695-943D-7819F17BA8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3D4D2A2-D475-47B9-8554-57B0E5FC92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7A333AC-6532-4062-902F-FD21DE52B1E8}"/>
              </a:ext>
            </a:extLst>
          </p:cNvPr>
          <p:cNvGrpSpPr/>
          <p:nvPr/>
        </p:nvGrpSpPr>
        <p:grpSpPr>
          <a:xfrm>
            <a:off x="1160282" y="2243798"/>
            <a:ext cx="7432286" cy="2466856"/>
            <a:chOff x="3646045" y="1939607"/>
            <a:chExt cx="2371122" cy="1680499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76FADB0-AB94-48F5-919A-4E773E9E01D8}"/>
                </a:ext>
              </a:extLst>
            </p:cNvPr>
            <p:cNvSpPr/>
            <p:nvPr/>
          </p:nvSpPr>
          <p:spPr>
            <a:xfrm>
              <a:off x="3675339" y="1939607"/>
              <a:ext cx="2341828" cy="1496908"/>
            </a:xfrm>
            <a:prstGeom prst="rect">
              <a:avLst/>
            </a:prstGeom>
            <a:noFill/>
            <a:ln w="25400">
              <a:solidFill>
                <a:srgbClr val="0070C0"/>
              </a:solidFill>
              <a:prstDash val="sysDash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9E1EE526-0168-477B-A57A-9AC1845FB6F8}"/>
                </a:ext>
              </a:extLst>
            </p:cNvPr>
            <p:cNvSpPr txBox="1"/>
            <p:nvPr/>
          </p:nvSpPr>
          <p:spPr>
            <a:xfrm>
              <a:off x="3646045" y="3410439"/>
              <a:ext cx="2168703" cy="2096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>
                  <a:solidFill>
                    <a:srgbClr val="0070C0"/>
                  </a:solidFill>
                </a:rPr>
                <a:t>AlarmIT</a:t>
              </a:r>
              <a:endParaRPr lang="de-DE" b="1" dirty="0">
                <a:solidFill>
                  <a:srgbClr val="0070C0"/>
                </a:solidFill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8D6BC72B-7476-40C4-B14C-734626965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0274" y="2872192"/>
            <a:ext cx="1398794" cy="934592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B78D466-0957-4820-BAA3-DC9B71FD3A83}"/>
              </a:ext>
            </a:extLst>
          </p:cNvPr>
          <p:cNvGrpSpPr/>
          <p:nvPr/>
        </p:nvGrpSpPr>
        <p:grpSpPr>
          <a:xfrm>
            <a:off x="3978165" y="2871228"/>
            <a:ext cx="2054595" cy="885565"/>
            <a:chOff x="3513229" y="1532823"/>
            <a:chExt cx="2168704" cy="141324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E591ABC-8DAE-4983-8095-06A7C6446540}"/>
                </a:ext>
              </a:extLst>
            </p:cNvPr>
            <p:cNvSpPr/>
            <p:nvPr/>
          </p:nvSpPr>
          <p:spPr>
            <a:xfrm>
              <a:off x="3513229" y="1564782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F49F21AD-E238-4D06-A398-E593EAD1F99A}"/>
                </a:ext>
              </a:extLst>
            </p:cNvPr>
            <p:cNvSpPr txBox="1"/>
            <p:nvPr/>
          </p:nvSpPr>
          <p:spPr>
            <a:xfrm>
              <a:off x="3513230" y="1532823"/>
              <a:ext cx="2168703" cy="687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larmIT</a:t>
              </a:r>
              <a:endParaRPr lang="de-DE" b="1" dirty="0">
                <a:solidFill>
                  <a:schemeClr val="bg1"/>
                </a:solidFill>
              </a:endParaRP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Instanz 1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8B917442-0732-476D-9B29-FE35D3C7472B}"/>
                </a:ext>
              </a:extLst>
            </p:cNvPr>
            <p:cNvSpPr txBox="1"/>
            <p:nvPr/>
          </p:nvSpPr>
          <p:spPr>
            <a:xfrm>
              <a:off x="3683893" y="2060343"/>
              <a:ext cx="1940483" cy="810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Erstellt Warn- und Störungsmeldungen anhand von empfangenen Telegrammen</a:t>
              </a: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C9BE8A6F-B68B-4545-BBC9-7642F49B2622}"/>
              </a:ext>
            </a:extLst>
          </p:cNvPr>
          <p:cNvSpPr txBox="1"/>
          <p:nvPr/>
        </p:nvSpPr>
        <p:spPr>
          <a:xfrm>
            <a:off x="7000274" y="2960533"/>
            <a:ext cx="13987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PostgreSQL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9C0880A-B8DF-4CA6-8238-1A60676AB4A9}"/>
              </a:ext>
            </a:extLst>
          </p:cNvPr>
          <p:cNvSpPr txBox="1"/>
          <p:nvPr/>
        </p:nvSpPr>
        <p:spPr>
          <a:xfrm>
            <a:off x="7056115" y="3268310"/>
            <a:ext cx="12634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Speichert empfangene Nachrichten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AB4D377-0172-45BD-A255-DFDF4F8203A7}"/>
              </a:ext>
            </a:extLst>
          </p:cNvPr>
          <p:cNvGrpSpPr/>
          <p:nvPr/>
        </p:nvGrpSpPr>
        <p:grpSpPr>
          <a:xfrm>
            <a:off x="1312848" y="2868302"/>
            <a:ext cx="1671803" cy="885565"/>
            <a:chOff x="3379929" y="1383139"/>
            <a:chExt cx="2168703" cy="141324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648EC44C-2575-4D5E-B5F9-39D5E6808102}"/>
                </a:ext>
              </a:extLst>
            </p:cNvPr>
            <p:cNvSpPr/>
            <p:nvPr/>
          </p:nvSpPr>
          <p:spPr>
            <a:xfrm>
              <a:off x="3379929" y="1415098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71BA3347-FBAA-4C7C-8C87-321EBA18EA5D}"/>
                </a:ext>
              </a:extLst>
            </p:cNvPr>
            <p:cNvSpPr txBox="1"/>
            <p:nvPr/>
          </p:nvSpPr>
          <p:spPr>
            <a:xfrm>
              <a:off x="3379929" y="1383139"/>
              <a:ext cx="2168703" cy="491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ctiveMQ</a:t>
              </a:r>
              <a:endParaRPr lang="de-DE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435AFFC1-9DEC-4B4A-97DF-2775BD46B3DD}"/>
                </a:ext>
              </a:extLst>
            </p:cNvPr>
            <p:cNvSpPr txBox="1"/>
            <p:nvPr/>
          </p:nvSpPr>
          <p:spPr>
            <a:xfrm>
              <a:off x="3550594" y="1910659"/>
              <a:ext cx="1940483" cy="5894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Regelt das Empfangen und senden von Nachrichten</a:t>
              </a:r>
            </a:p>
          </p:txBody>
        </p:sp>
      </p:grpSp>
      <p:cxnSp>
        <p:nvCxnSpPr>
          <p:cNvPr id="62" name="Verbinder: gewinkelt 61">
            <a:extLst>
              <a:ext uri="{FF2B5EF4-FFF2-40B4-BE49-F238E27FC236}">
                <a16:creationId xmlns:a16="http://schemas.microsoft.com/office/drawing/2014/main" id="{2A8D688C-B330-47BF-9454-B75201064B37}"/>
              </a:ext>
            </a:extLst>
          </p:cNvPr>
          <p:cNvCxnSpPr>
            <a:cxnSpLocks/>
            <a:stCxn id="3" idx="2"/>
            <a:endCxn id="35" idx="0"/>
          </p:cNvCxnSpPr>
          <p:nvPr/>
        </p:nvCxnSpPr>
        <p:spPr>
          <a:xfrm rot="16200000" flipH="1">
            <a:off x="1710127" y="2429678"/>
            <a:ext cx="877245" cy="1"/>
          </a:xfrm>
          <a:prstGeom prst="bentConnector3">
            <a:avLst>
              <a:gd name="adj1" fmla="val 50000"/>
            </a:avLst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Verbinder: gewinkelt 63">
            <a:extLst>
              <a:ext uri="{FF2B5EF4-FFF2-40B4-BE49-F238E27FC236}">
                <a16:creationId xmlns:a16="http://schemas.microsoft.com/office/drawing/2014/main" id="{0BD3C609-8B3A-48E0-B6DC-BAABE9DE9D72}"/>
              </a:ext>
            </a:extLst>
          </p:cNvPr>
          <p:cNvCxnSpPr>
            <a:cxnSpLocks/>
            <a:stCxn id="34" idx="3"/>
            <a:endCxn id="21" idx="1"/>
          </p:cNvCxnSpPr>
          <p:nvPr/>
        </p:nvCxnSpPr>
        <p:spPr>
          <a:xfrm>
            <a:off x="2984651" y="3321098"/>
            <a:ext cx="993514" cy="292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Verbinder: gewinkelt 76">
            <a:extLst>
              <a:ext uri="{FF2B5EF4-FFF2-40B4-BE49-F238E27FC236}">
                <a16:creationId xmlns:a16="http://schemas.microsoft.com/office/drawing/2014/main" id="{5AAE1E17-A04B-4C4E-8273-ED0DF1D6FA38}"/>
              </a:ext>
            </a:extLst>
          </p:cNvPr>
          <p:cNvCxnSpPr>
            <a:cxnSpLocks/>
            <a:stCxn id="21" idx="3"/>
            <a:endCxn id="16" idx="1"/>
          </p:cNvCxnSpPr>
          <p:nvPr/>
        </p:nvCxnSpPr>
        <p:spPr>
          <a:xfrm>
            <a:off x="6032759" y="3324024"/>
            <a:ext cx="967515" cy="154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Verbinder: gewinkelt 104">
            <a:extLst>
              <a:ext uri="{FF2B5EF4-FFF2-40B4-BE49-F238E27FC236}">
                <a16:creationId xmlns:a16="http://schemas.microsoft.com/office/drawing/2014/main" id="{DE3BD498-0D8C-487F-B57E-D180219C74D8}"/>
              </a:ext>
            </a:extLst>
          </p:cNvPr>
          <p:cNvCxnSpPr>
            <a:cxnSpLocks/>
            <a:stCxn id="18" idx="2"/>
            <a:endCxn id="22" idx="3"/>
          </p:cNvCxnSpPr>
          <p:nvPr/>
        </p:nvCxnSpPr>
        <p:spPr>
          <a:xfrm rot="5400000">
            <a:off x="5592732" y="2413857"/>
            <a:ext cx="1112844" cy="232787"/>
          </a:xfrm>
          <a:prstGeom prst="bentConnector2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839A7506-B1F7-48AD-AA9D-39626C5C7CC8}"/>
              </a:ext>
            </a:extLst>
          </p:cNvPr>
          <p:cNvSpPr txBox="1"/>
          <p:nvPr/>
        </p:nvSpPr>
        <p:spPr>
          <a:xfrm>
            <a:off x="2911314" y="3287518"/>
            <a:ext cx="738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endet </a:t>
            </a:r>
          </a:p>
          <a:p>
            <a:pPr algn="ctr"/>
            <a:r>
              <a:rPr lang="de-DE" sz="800" dirty="0"/>
              <a:t>und empfängt Nachrichten</a:t>
            </a: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E46F2DB3-3980-419B-9072-97A4BB43EFF8}"/>
              </a:ext>
            </a:extLst>
          </p:cNvPr>
          <p:cNvSpPr txBox="1"/>
          <p:nvPr/>
        </p:nvSpPr>
        <p:spPr>
          <a:xfrm>
            <a:off x="6410808" y="2935437"/>
            <a:ext cx="755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Speichert Meldungen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04ACD5A-8AB9-8AAF-85F6-51051689A4CF}"/>
              </a:ext>
            </a:extLst>
          </p:cNvPr>
          <p:cNvGrpSpPr/>
          <p:nvPr/>
        </p:nvGrpSpPr>
        <p:grpSpPr>
          <a:xfrm>
            <a:off x="1123259" y="1137856"/>
            <a:ext cx="2050980" cy="853201"/>
            <a:chOff x="637317" y="1967657"/>
            <a:chExt cx="2168704" cy="141018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DB74A03-23AF-53C7-437B-55C6BC073110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44D5624A-C060-FA2F-6CED-BC27BB7FF1E8}"/>
                </a:ext>
              </a:extLst>
            </p:cNvPr>
            <p:cNvSpPr txBox="1"/>
            <p:nvPr/>
          </p:nvSpPr>
          <p:spPr>
            <a:xfrm>
              <a:off x="1116892" y="1967657"/>
              <a:ext cx="1203015" cy="1068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Level 1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60673995-86DF-974B-D171-BCF9DC84EFA0}"/>
                </a:ext>
              </a:extLst>
            </p:cNvPr>
            <p:cNvSpPr txBox="1"/>
            <p:nvPr/>
          </p:nvSpPr>
          <p:spPr>
            <a:xfrm>
              <a:off x="979475" y="2509416"/>
              <a:ext cx="1539142" cy="83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Schnittstelle die Daten von Analysegeräten Empfängt und Überträgt</a:t>
              </a:r>
            </a:p>
          </p:txBody>
        </p:sp>
      </p:grpSp>
      <p:sp>
        <p:nvSpPr>
          <p:cNvPr id="15" name="Textfeld 14">
            <a:extLst>
              <a:ext uri="{FF2B5EF4-FFF2-40B4-BE49-F238E27FC236}">
                <a16:creationId xmlns:a16="http://schemas.microsoft.com/office/drawing/2014/main" id="{8923D7F0-CA67-AD8D-FD16-029F884E623D}"/>
              </a:ext>
            </a:extLst>
          </p:cNvPr>
          <p:cNvSpPr txBox="1"/>
          <p:nvPr/>
        </p:nvSpPr>
        <p:spPr>
          <a:xfrm>
            <a:off x="1937050" y="1945912"/>
            <a:ext cx="11223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endet Daten-Telegramm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F059C1C-DF1C-75AD-15A0-8D7BC049B440}"/>
              </a:ext>
            </a:extLst>
          </p:cNvPr>
          <p:cNvGrpSpPr/>
          <p:nvPr/>
        </p:nvGrpSpPr>
        <p:grpSpPr>
          <a:xfrm>
            <a:off x="5276750" y="1184206"/>
            <a:ext cx="1977594" cy="789622"/>
            <a:chOff x="657278" y="2032251"/>
            <a:chExt cx="2168704" cy="95744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99B3687-72AC-090E-81E1-53F82F22189D}"/>
                </a:ext>
              </a:extLst>
            </p:cNvPr>
            <p:cNvSpPr/>
            <p:nvPr/>
          </p:nvSpPr>
          <p:spPr>
            <a:xfrm>
              <a:off x="657278" y="2032251"/>
              <a:ext cx="2168704" cy="9574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62D13D8-EBEC-7B23-17C4-723421AC3F15}"/>
                </a:ext>
              </a:extLst>
            </p:cNvPr>
            <p:cNvSpPr txBox="1"/>
            <p:nvPr/>
          </p:nvSpPr>
          <p:spPr>
            <a:xfrm>
              <a:off x="836926" y="2066602"/>
              <a:ext cx="1800596" cy="634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GUI</a:t>
              </a:r>
              <a:endPara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A797D283-CC52-D37C-2EB3-D0FEEAC05F0B}"/>
                </a:ext>
              </a:extLst>
            </p:cNvPr>
            <p:cNvSpPr txBox="1"/>
            <p:nvPr/>
          </p:nvSpPr>
          <p:spPr>
            <a:xfrm>
              <a:off x="715282" y="2348266"/>
              <a:ext cx="2016203" cy="615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von </a:t>
              </a:r>
              <a:r>
                <a:rPr lang="de-DE" sz="900" dirty="0" err="1">
                  <a:solidFill>
                    <a:schemeClr val="bg1">
                      <a:lumMod val="95000"/>
                    </a:schemeClr>
                  </a:solidFill>
                </a:rPr>
                <a:t>AlarmIT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 über den Browser</a:t>
              </a:r>
              <a:endParaRPr lang="de-DE" sz="900" dirty="0">
                <a:solidFill>
                  <a:schemeClr val="bg2"/>
                </a:solidFill>
              </a:endParaRPr>
            </a:p>
          </p:txBody>
        </p:sp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4AFAA233-A124-19BA-9F69-6ACA6671FD48}"/>
              </a:ext>
            </a:extLst>
          </p:cNvPr>
          <p:cNvSpPr txBox="1"/>
          <p:nvPr/>
        </p:nvSpPr>
        <p:spPr>
          <a:xfrm>
            <a:off x="6248909" y="1941092"/>
            <a:ext cx="1255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Fragt Meldungen ab und übermittelt Befehl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DBF7590C-4E86-2660-FF1B-87A3D13D4D23}"/>
              </a:ext>
            </a:extLst>
          </p:cNvPr>
          <p:cNvSpPr txBox="1"/>
          <p:nvPr/>
        </p:nvSpPr>
        <p:spPr>
          <a:xfrm>
            <a:off x="301451" y="547635"/>
            <a:ext cx="7340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AlarmIT</a:t>
            </a:r>
            <a:r>
              <a:rPr lang="en-GB" dirty="0"/>
              <a:t> </a:t>
            </a:r>
            <a:r>
              <a:rPr lang="en-GB" dirty="0" err="1"/>
              <a:t>selbst</a:t>
            </a:r>
            <a:r>
              <a:rPr lang="en-GB" dirty="0"/>
              <a:t> </a:t>
            </a:r>
            <a:r>
              <a:rPr lang="en-GB" dirty="0" err="1"/>
              <a:t>besteht</a:t>
            </a:r>
            <a:r>
              <a:rPr lang="en-GB" dirty="0"/>
              <a:t>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einem</a:t>
            </a:r>
            <a:r>
              <a:rPr lang="en-GB" dirty="0"/>
              <a:t> </a:t>
            </a:r>
            <a:r>
              <a:rPr lang="en-GB" dirty="0" err="1"/>
              <a:t>MessageBroker</a:t>
            </a:r>
            <a:r>
              <a:rPr lang="en-GB" dirty="0"/>
              <a:t>, der </a:t>
            </a:r>
            <a:r>
              <a:rPr lang="en-GB" dirty="0" err="1"/>
              <a:t>Fachlogik</a:t>
            </a:r>
            <a:r>
              <a:rPr lang="en-GB" dirty="0"/>
              <a:t> und </a:t>
            </a:r>
            <a:r>
              <a:rPr lang="en-GB" dirty="0" err="1"/>
              <a:t>einer</a:t>
            </a:r>
            <a:r>
              <a:rPr lang="en-GB" dirty="0"/>
              <a:t> </a:t>
            </a:r>
            <a:r>
              <a:rPr lang="en-GB" dirty="0" err="1"/>
              <a:t>Datenbank</a:t>
            </a:r>
            <a:r>
              <a:rPr lang="en-GB" dirty="0"/>
              <a:t>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7794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E12BEB-7DD9-4F47-9AEA-D237B31DE4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3335ED5-30E7-49E9-998D-441391C92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griffsweg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8E00E2-60B6-4695-943D-7819F17BA8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3D4D2A2-D475-47B9-8554-57B0E5FC92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7A333AC-6532-4062-902F-FD21DE52B1E8}"/>
              </a:ext>
            </a:extLst>
          </p:cNvPr>
          <p:cNvGrpSpPr/>
          <p:nvPr/>
        </p:nvGrpSpPr>
        <p:grpSpPr>
          <a:xfrm>
            <a:off x="1252104" y="3231973"/>
            <a:ext cx="7432286" cy="1631610"/>
            <a:chOff x="3646045" y="1939607"/>
            <a:chExt cx="2371122" cy="1812785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76FADB0-AB94-48F5-919A-4E773E9E01D8}"/>
                </a:ext>
              </a:extLst>
            </p:cNvPr>
            <p:cNvSpPr/>
            <p:nvPr/>
          </p:nvSpPr>
          <p:spPr>
            <a:xfrm>
              <a:off x="3675339" y="1939607"/>
              <a:ext cx="2341828" cy="1496908"/>
            </a:xfrm>
            <a:prstGeom prst="rect">
              <a:avLst/>
            </a:prstGeom>
            <a:noFill/>
            <a:ln w="25400">
              <a:solidFill>
                <a:srgbClr val="0070C0"/>
              </a:solidFill>
              <a:prstDash val="sysDash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9E1EE526-0168-477B-A57A-9AC1845FB6F8}"/>
                </a:ext>
              </a:extLst>
            </p:cNvPr>
            <p:cNvSpPr txBox="1"/>
            <p:nvPr/>
          </p:nvSpPr>
          <p:spPr>
            <a:xfrm>
              <a:off x="3646045" y="3410439"/>
              <a:ext cx="2168703" cy="3419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err="1">
                  <a:solidFill>
                    <a:srgbClr val="0070C0"/>
                  </a:solidFill>
                </a:rPr>
                <a:t>AlarmIT</a:t>
              </a:r>
              <a:endParaRPr lang="de-DE" b="1" dirty="0">
                <a:solidFill>
                  <a:srgbClr val="0070C0"/>
                </a:solidFill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8D6BC72B-7476-40C4-B14C-734626965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7236" y="3469833"/>
            <a:ext cx="1398794" cy="934592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B78D466-0957-4820-BAA3-DC9B71FD3A83}"/>
              </a:ext>
            </a:extLst>
          </p:cNvPr>
          <p:cNvGrpSpPr/>
          <p:nvPr/>
        </p:nvGrpSpPr>
        <p:grpSpPr>
          <a:xfrm>
            <a:off x="4175127" y="3468869"/>
            <a:ext cx="2054595" cy="885565"/>
            <a:chOff x="3513229" y="1532823"/>
            <a:chExt cx="2168704" cy="141324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E591ABC-8DAE-4983-8095-06A7C6446540}"/>
                </a:ext>
              </a:extLst>
            </p:cNvPr>
            <p:cNvSpPr/>
            <p:nvPr/>
          </p:nvSpPr>
          <p:spPr>
            <a:xfrm>
              <a:off x="3513229" y="1564782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F49F21AD-E238-4D06-A398-E593EAD1F99A}"/>
                </a:ext>
              </a:extLst>
            </p:cNvPr>
            <p:cNvSpPr txBox="1"/>
            <p:nvPr/>
          </p:nvSpPr>
          <p:spPr>
            <a:xfrm>
              <a:off x="3513230" y="1532823"/>
              <a:ext cx="2168703" cy="687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larmIT</a:t>
              </a:r>
              <a:endParaRPr lang="de-DE" b="1" dirty="0">
                <a:solidFill>
                  <a:schemeClr val="bg1"/>
                </a:solidFill>
              </a:endParaRP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Instanz 1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8B917442-0732-476D-9B29-FE35D3C7472B}"/>
                </a:ext>
              </a:extLst>
            </p:cNvPr>
            <p:cNvSpPr txBox="1"/>
            <p:nvPr/>
          </p:nvSpPr>
          <p:spPr>
            <a:xfrm>
              <a:off x="3683893" y="2060343"/>
              <a:ext cx="1940483" cy="810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Erstellt Warn- und Störungsmeldungen anhand von empfangenen Telegrammen</a:t>
              </a: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C9BE8A6F-B68B-4545-BBC9-7642F49B2622}"/>
              </a:ext>
            </a:extLst>
          </p:cNvPr>
          <p:cNvSpPr txBox="1"/>
          <p:nvPr/>
        </p:nvSpPr>
        <p:spPr>
          <a:xfrm>
            <a:off x="7197236" y="3558174"/>
            <a:ext cx="13987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PostgreSQL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9C0880A-B8DF-4CA6-8238-1A60676AB4A9}"/>
              </a:ext>
            </a:extLst>
          </p:cNvPr>
          <p:cNvSpPr txBox="1"/>
          <p:nvPr/>
        </p:nvSpPr>
        <p:spPr>
          <a:xfrm>
            <a:off x="7253077" y="3865951"/>
            <a:ext cx="12634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Speichert empfangene Nachrichten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AB4D377-0172-45BD-A255-DFDF4F8203A7}"/>
              </a:ext>
            </a:extLst>
          </p:cNvPr>
          <p:cNvGrpSpPr/>
          <p:nvPr/>
        </p:nvGrpSpPr>
        <p:grpSpPr>
          <a:xfrm>
            <a:off x="1509810" y="3465943"/>
            <a:ext cx="1671803" cy="885565"/>
            <a:chOff x="3379929" y="1383139"/>
            <a:chExt cx="2168703" cy="141324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648EC44C-2575-4D5E-B5F9-39D5E6808102}"/>
                </a:ext>
              </a:extLst>
            </p:cNvPr>
            <p:cNvSpPr/>
            <p:nvPr/>
          </p:nvSpPr>
          <p:spPr>
            <a:xfrm>
              <a:off x="3379929" y="1415098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71BA3347-FBAA-4C7C-8C87-321EBA18EA5D}"/>
                </a:ext>
              </a:extLst>
            </p:cNvPr>
            <p:cNvSpPr txBox="1"/>
            <p:nvPr/>
          </p:nvSpPr>
          <p:spPr>
            <a:xfrm>
              <a:off x="3379929" y="1383139"/>
              <a:ext cx="2168703" cy="491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ctiveMQ</a:t>
              </a:r>
              <a:endParaRPr lang="de-DE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435AFFC1-9DEC-4B4A-97DF-2775BD46B3DD}"/>
                </a:ext>
              </a:extLst>
            </p:cNvPr>
            <p:cNvSpPr txBox="1"/>
            <p:nvPr/>
          </p:nvSpPr>
          <p:spPr>
            <a:xfrm>
              <a:off x="3550594" y="1910659"/>
              <a:ext cx="1940483" cy="5894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Regelt das Empfangen und senden von Nachrichten</a:t>
              </a:r>
            </a:p>
          </p:txBody>
        </p:sp>
      </p:grpSp>
      <p:cxnSp>
        <p:nvCxnSpPr>
          <p:cNvPr id="62" name="Verbinder: gewinkelt 61">
            <a:extLst>
              <a:ext uri="{FF2B5EF4-FFF2-40B4-BE49-F238E27FC236}">
                <a16:creationId xmlns:a16="http://schemas.microsoft.com/office/drawing/2014/main" id="{2A8D688C-B330-47BF-9454-B75201064B37}"/>
              </a:ext>
            </a:extLst>
          </p:cNvPr>
          <p:cNvCxnSpPr>
            <a:cxnSpLocks/>
            <a:stCxn id="3" idx="2"/>
            <a:endCxn id="35" idx="0"/>
          </p:cNvCxnSpPr>
          <p:nvPr/>
        </p:nvCxnSpPr>
        <p:spPr>
          <a:xfrm rot="5400000">
            <a:off x="2190883" y="3311112"/>
            <a:ext cx="309661" cy="1"/>
          </a:xfrm>
          <a:prstGeom prst="bentConnector3">
            <a:avLst>
              <a:gd name="adj1" fmla="val 50000"/>
            </a:avLst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Verbinder: gewinkelt 104">
            <a:extLst>
              <a:ext uri="{FF2B5EF4-FFF2-40B4-BE49-F238E27FC236}">
                <a16:creationId xmlns:a16="http://schemas.microsoft.com/office/drawing/2014/main" id="{DE3BD498-0D8C-487F-B57E-D180219C74D8}"/>
              </a:ext>
            </a:extLst>
          </p:cNvPr>
          <p:cNvCxnSpPr>
            <a:cxnSpLocks/>
            <a:stCxn id="18" idx="2"/>
            <a:endCxn id="22" idx="3"/>
          </p:cNvCxnSpPr>
          <p:nvPr/>
        </p:nvCxnSpPr>
        <p:spPr>
          <a:xfrm rot="5400000">
            <a:off x="6188295" y="3199788"/>
            <a:ext cx="525953" cy="443097"/>
          </a:xfrm>
          <a:prstGeom prst="bentConnector2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04ACD5A-8AB9-8AAF-85F6-51051689A4CF}"/>
              </a:ext>
            </a:extLst>
          </p:cNvPr>
          <p:cNvGrpSpPr/>
          <p:nvPr/>
        </p:nvGrpSpPr>
        <p:grpSpPr>
          <a:xfrm>
            <a:off x="1320223" y="2303081"/>
            <a:ext cx="2050980" cy="853201"/>
            <a:chOff x="637317" y="1967657"/>
            <a:chExt cx="2168704" cy="141018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DB74A03-23AF-53C7-437B-55C6BC073110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44D5624A-C060-FA2F-6CED-BC27BB7FF1E8}"/>
                </a:ext>
              </a:extLst>
            </p:cNvPr>
            <p:cNvSpPr txBox="1"/>
            <p:nvPr/>
          </p:nvSpPr>
          <p:spPr>
            <a:xfrm>
              <a:off x="1116892" y="1967657"/>
              <a:ext cx="1203015" cy="1068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Level 1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60673995-86DF-974B-D171-BCF9DC84EFA0}"/>
                </a:ext>
              </a:extLst>
            </p:cNvPr>
            <p:cNvSpPr txBox="1"/>
            <p:nvPr/>
          </p:nvSpPr>
          <p:spPr>
            <a:xfrm>
              <a:off x="979475" y="2509416"/>
              <a:ext cx="1539142" cy="83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Schnittstelle die Daten von Analysegeräten Empfängt und Überträgt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F059C1C-DF1C-75AD-15A0-8D7BC049B440}"/>
              </a:ext>
            </a:extLst>
          </p:cNvPr>
          <p:cNvGrpSpPr/>
          <p:nvPr/>
        </p:nvGrpSpPr>
        <p:grpSpPr>
          <a:xfrm>
            <a:off x="5684022" y="2368738"/>
            <a:ext cx="1977594" cy="789622"/>
            <a:chOff x="657278" y="2032251"/>
            <a:chExt cx="2168704" cy="95744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99B3687-72AC-090E-81E1-53F82F22189D}"/>
                </a:ext>
              </a:extLst>
            </p:cNvPr>
            <p:cNvSpPr/>
            <p:nvPr/>
          </p:nvSpPr>
          <p:spPr>
            <a:xfrm>
              <a:off x="657278" y="2032251"/>
              <a:ext cx="2168704" cy="9574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62D13D8-EBEC-7B23-17C4-723421AC3F15}"/>
                </a:ext>
              </a:extLst>
            </p:cNvPr>
            <p:cNvSpPr txBox="1"/>
            <p:nvPr/>
          </p:nvSpPr>
          <p:spPr>
            <a:xfrm>
              <a:off x="836926" y="2066602"/>
              <a:ext cx="1800596" cy="634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GUI</a:t>
              </a:r>
              <a:endPara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A797D283-CC52-D37C-2EB3-D0FEEAC05F0B}"/>
                </a:ext>
              </a:extLst>
            </p:cNvPr>
            <p:cNvSpPr txBox="1"/>
            <p:nvPr/>
          </p:nvSpPr>
          <p:spPr>
            <a:xfrm>
              <a:off x="715282" y="2348266"/>
              <a:ext cx="2016203" cy="615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von </a:t>
              </a:r>
              <a:r>
                <a:rPr lang="de-DE" sz="900" dirty="0" err="1">
                  <a:solidFill>
                    <a:schemeClr val="bg1">
                      <a:lumMod val="95000"/>
                    </a:schemeClr>
                  </a:solidFill>
                </a:rPr>
                <a:t>AlarmIT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 über den Browser</a:t>
              </a:r>
              <a:endParaRPr lang="de-DE" sz="900" dirty="0">
                <a:solidFill>
                  <a:schemeClr val="bg2"/>
                </a:solidFill>
              </a:endParaRPr>
            </a:p>
          </p:txBody>
        </p:sp>
      </p:grpSp>
      <p:sp>
        <p:nvSpPr>
          <p:cNvPr id="10" name="Textfeld 9">
            <a:extLst>
              <a:ext uri="{FF2B5EF4-FFF2-40B4-BE49-F238E27FC236}">
                <a16:creationId xmlns:a16="http://schemas.microsoft.com/office/drawing/2014/main" id="{B2E6EB1A-22A5-148B-6AC8-BBC6A08A88B0}"/>
              </a:ext>
            </a:extLst>
          </p:cNvPr>
          <p:cNvSpPr txBox="1"/>
          <p:nvPr/>
        </p:nvSpPr>
        <p:spPr>
          <a:xfrm>
            <a:off x="286378" y="597877"/>
            <a:ext cx="84657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s </a:t>
            </a:r>
            <a:r>
              <a:rPr lang="en-GB" dirty="0" err="1"/>
              <a:t>gibt</a:t>
            </a:r>
            <a:r>
              <a:rPr lang="en-GB" dirty="0"/>
              <a:t> </a:t>
            </a:r>
            <a:r>
              <a:rPr lang="en-GB" dirty="0" err="1"/>
              <a:t>verschiedene</a:t>
            </a:r>
            <a:r>
              <a:rPr lang="en-GB" dirty="0"/>
              <a:t> </a:t>
            </a:r>
            <a:r>
              <a:rPr lang="en-GB" dirty="0" err="1"/>
              <a:t>Wege</a:t>
            </a:r>
            <a:r>
              <a:rPr lang="en-GB" dirty="0"/>
              <a:t> auf </a:t>
            </a:r>
            <a:r>
              <a:rPr lang="en-GB" dirty="0" err="1"/>
              <a:t>einzelne</a:t>
            </a:r>
            <a:r>
              <a:rPr lang="en-GB" dirty="0"/>
              <a:t> </a:t>
            </a:r>
            <a:r>
              <a:rPr lang="en-GB" dirty="0" err="1"/>
              <a:t>Komponenten</a:t>
            </a:r>
            <a:r>
              <a:rPr lang="en-GB" dirty="0"/>
              <a:t> </a:t>
            </a:r>
            <a:r>
              <a:rPr lang="en-GB" dirty="0" err="1"/>
              <a:t>zuzugreiffen</a:t>
            </a:r>
            <a:r>
              <a:rPr lang="en-GB" dirty="0"/>
              <a:t>.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Direkte</a:t>
            </a:r>
            <a:r>
              <a:rPr lang="en-GB" dirty="0"/>
              <a:t> und </a:t>
            </a:r>
            <a:r>
              <a:rPr lang="en-GB" dirty="0" err="1"/>
              <a:t>indirekte</a:t>
            </a:r>
            <a:r>
              <a:rPr lang="en-GB" dirty="0"/>
              <a:t> </a:t>
            </a:r>
            <a:r>
              <a:rPr lang="en-GB" dirty="0" err="1"/>
              <a:t>Wege</a:t>
            </a:r>
            <a:r>
              <a:rPr lang="en-GB" dirty="0"/>
              <a:t>. </a:t>
            </a:r>
            <a:r>
              <a:rPr lang="en-GB" dirty="0" err="1"/>
              <a:t>Beispiel</a:t>
            </a:r>
            <a:r>
              <a:rPr lang="en-GB" dirty="0"/>
              <a:t>: Ich </a:t>
            </a:r>
            <a:r>
              <a:rPr lang="en-GB" dirty="0" err="1"/>
              <a:t>möchte</a:t>
            </a:r>
            <a:r>
              <a:rPr lang="en-GB" dirty="0"/>
              <a:t> auf </a:t>
            </a:r>
            <a:r>
              <a:rPr lang="en-GB" dirty="0" err="1"/>
              <a:t>Daten</a:t>
            </a:r>
            <a:r>
              <a:rPr lang="en-GB" dirty="0"/>
              <a:t> </a:t>
            </a:r>
            <a:r>
              <a:rPr lang="en-GB" dirty="0" err="1"/>
              <a:t>aus</a:t>
            </a:r>
            <a:r>
              <a:rPr lang="en-GB" dirty="0"/>
              <a:t> der </a:t>
            </a:r>
            <a:r>
              <a:rPr lang="en-GB" dirty="0" err="1"/>
              <a:t>Datenbank</a:t>
            </a:r>
            <a:r>
              <a:rPr lang="en-GB" dirty="0"/>
              <a:t> </a:t>
            </a:r>
            <a:r>
              <a:rPr lang="en-GB" dirty="0" err="1"/>
              <a:t>Zugreiffen</a:t>
            </a:r>
            <a:r>
              <a:rPr lang="en-GB" dirty="0"/>
              <a:t>.</a:t>
            </a:r>
          </a:p>
          <a:p>
            <a:endParaRPr lang="en-GB" dirty="0"/>
          </a:p>
          <a:p>
            <a:r>
              <a:rPr lang="en-GB" dirty="0"/>
              <a:t>Aber </a:t>
            </a:r>
            <a:r>
              <a:rPr lang="en-GB" dirty="0" err="1"/>
              <a:t>welcher</a:t>
            </a:r>
            <a:r>
              <a:rPr lang="en-GB" dirty="0"/>
              <a:t> </a:t>
            </a:r>
            <a:r>
              <a:rPr lang="en-GB" dirty="0" err="1"/>
              <a:t>Weg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denn</a:t>
            </a:r>
            <a:r>
              <a:rPr lang="en-GB" dirty="0"/>
              <a:t> der </a:t>
            </a:r>
            <a:r>
              <a:rPr lang="en-GB" dirty="0" err="1"/>
              <a:t>Sicherste</a:t>
            </a:r>
            <a:r>
              <a:rPr lang="en-GB" dirty="0"/>
              <a:t> </a:t>
            </a:r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Systemsicht</a:t>
            </a:r>
            <a:r>
              <a:rPr lang="en-GB" dirty="0"/>
              <a:t>?</a:t>
            </a:r>
            <a:endParaRPr lang="de-DE" dirty="0"/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6820161-491E-6B42-34D9-6BA908F080A1}"/>
              </a:ext>
            </a:extLst>
          </p:cNvPr>
          <p:cNvCxnSpPr>
            <a:cxnSpLocks/>
          </p:cNvCxnSpPr>
          <p:nvPr/>
        </p:nvCxnSpPr>
        <p:spPr>
          <a:xfrm>
            <a:off x="6680351" y="1826602"/>
            <a:ext cx="0" cy="542136"/>
          </a:xfrm>
          <a:prstGeom prst="straightConnector1">
            <a:avLst/>
          </a:prstGeom>
          <a:ln w="1016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C51626F0-C65D-C7F1-0021-5EFD02370CF0}"/>
              </a:ext>
            </a:extLst>
          </p:cNvPr>
          <p:cNvCxnSpPr>
            <a:cxnSpLocks/>
          </p:cNvCxnSpPr>
          <p:nvPr/>
        </p:nvCxnSpPr>
        <p:spPr>
          <a:xfrm>
            <a:off x="5330580" y="2825568"/>
            <a:ext cx="0" cy="655629"/>
          </a:xfrm>
          <a:prstGeom prst="straightConnector1">
            <a:avLst/>
          </a:prstGeom>
          <a:ln w="1016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5AF25A4E-8B9D-627C-E50B-8CB3E814B67A}"/>
              </a:ext>
            </a:extLst>
          </p:cNvPr>
          <p:cNvCxnSpPr>
            <a:cxnSpLocks/>
          </p:cNvCxnSpPr>
          <p:nvPr/>
        </p:nvCxnSpPr>
        <p:spPr>
          <a:xfrm>
            <a:off x="8040834" y="2772530"/>
            <a:ext cx="0" cy="695710"/>
          </a:xfrm>
          <a:prstGeom prst="straightConnector1">
            <a:avLst/>
          </a:prstGeom>
          <a:ln w="1016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DA397739-41C1-853D-7F22-849B23816974}"/>
              </a:ext>
            </a:extLst>
          </p:cNvPr>
          <p:cNvSpPr txBox="1"/>
          <p:nvPr/>
        </p:nvSpPr>
        <p:spPr>
          <a:xfrm>
            <a:off x="6668801" y="1850523"/>
            <a:ext cx="9961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ndirekter</a:t>
            </a:r>
            <a:r>
              <a:rPr lang="en-GB" sz="800" dirty="0"/>
              <a:t> </a:t>
            </a:r>
            <a:r>
              <a:rPr lang="en-GB" sz="800" dirty="0" err="1"/>
              <a:t>Zugriff</a:t>
            </a:r>
            <a:endParaRPr lang="de-DE" sz="800" dirty="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B78D504A-7A87-3A9F-8210-CDF6A1546A81}"/>
              </a:ext>
            </a:extLst>
          </p:cNvPr>
          <p:cNvSpPr txBox="1"/>
          <p:nvPr/>
        </p:nvSpPr>
        <p:spPr>
          <a:xfrm>
            <a:off x="4372768" y="2924070"/>
            <a:ext cx="9961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ndirekter</a:t>
            </a:r>
            <a:r>
              <a:rPr lang="en-GB" sz="800" dirty="0"/>
              <a:t> </a:t>
            </a:r>
            <a:r>
              <a:rPr lang="en-GB" sz="800" dirty="0" err="1"/>
              <a:t>Zugriff</a:t>
            </a:r>
            <a:endParaRPr lang="de-DE" sz="800" dirty="0"/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C8DCA5F1-1141-8485-BE8B-AA274DCABA3B}"/>
              </a:ext>
            </a:extLst>
          </p:cNvPr>
          <p:cNvSpPr txBox="1"/>
          <p:nvPr/>
        </p:nvSpPr>
        <p:spPr>
          <a:xfrm>
            <a:off x="8031810" y="2915976"/>
            <a:ext cx="9961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Direkter</a:t>
            </a:r>
            <a:r>
              <a:rPr lang="en-GB" sz="800" dirty="0"/>
              <a:t> </a:t>
            </a:r>
            <a:r>
              <a:rPr lang="en-GB" sz="800" dirty="0" err="1"/>
              <a:t>Zugriff</a:t>
            </a:r>
            <a:endParaRPr lang="de-DE" sz="800" dirty="0"/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55FD7423-9ED5-C581-0544-378AF82D7A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921" y="1314529"/>
            <a:ext cx="657798" cy="485309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C80EBEDD-6DE8-D3ED-98B1-87558B5EDE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0697" y="2333788"/>
            <a:ext cx="657798" cy="485309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40B29B6D-C20A-26D0-3AE8-DFABB132B1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2911" y="2259833"/>
            <a:ext cx="657798" cy="485309"/>
          </a:xfrm>
          <a:prstGeom prst="rect">
            <a:avLst/>
          </a:prstGeom>
        </p:spPr>
      </p:pic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FB34A0C-CBC0-EE67-DDD0-D2D862912BAE}"/>
              </a:ext>
            </a:extLst>
          </p:cNvPr>
          <p:cNvCxnSpPr>
            <a:stCxn id="34" idx="3"/>
            <a:endCxn id="21" idx="1"/>
          </p:cNvCxnSpPr>
          <p:nvPr/>
        </p:nvCxnSpPr>
        <p:spPr>
          <a:xfrm>
            <a:off x="3181613" y="3918739"/>
            <a:ext cx="993514" cy="29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9F2C932B-4DD8-426C-A8E9-26E64E77C166}"/>
              </a:ext>
            </a:extLst>
          </p:cNvPr>
          <p:cNvCxnSpPr>
            <a:stCxn id="21" idx="3"/>
            <a:endCxn id="16" idx="1"/>
          </p:cNvCxnSpPr>
          <p:nvPr/>
        </p:nvCxnSpPr>
        <p:spPr>
          <a:xfrm>
            <a:off x="6229721" y="3921665"/>
            <a:ext cx="967515" cy="15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2256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50" grpId="0"/>
      <p:bldP spid="5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05594AB-296C-E01E-0009-87A958CDE4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97888"/>
            <a:ext cx="7815907" cy="567848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err="1"/>
              <a:t>Wir</a:t>
            </a:r>
            <a:r>
              <a:rPr lang="en-GB" dirty="0"/>
              <a:t> </a:t>
            </a:r>
            <a:r>
              <a:rPr lang="en-GB" dirty="0" err="1"/>
              <a:t>erstellen</a:t>
            </a:r>
            <a:r>
              <a:rPr lang="en-GB" dirty="0"/>
              <a:t> also </a:t>
            </a:r>
            <a:r>
              <a:rPr lang="en-GB" dirty="0" err="1"/>
              <a:t>einen</a:t>
            </a:r>
            <a:r>
              <a:rPr lang="en-GB" dirty="0"/>
              <a:t> </a:t>
            </a:r>
            <a:r>
              <a:rPr lang="en-GB" dirty="0" err="1"/>
              <a:t>AlarmIT</a:t>
            </a:r>
            <a:r>
              <a:rPr lang="en-GB" dirty="0"/>
              <a:t> Stack </a:t>
            </a:r>
            <a:r>
              <a:rPr lang="en-GB" dirty="0" err="1"/>
              <a:t>aus</a:t>
            </a:r>
            <a:r>
              <a:rPr lang="en-GB" dirty="0"/>
              <a:t> ActiveMQ, </a:t>
            </a:r>
            <a:r>
              <a:rPr lang="en-GB" dirty="0" err="1"/>
              <a:t>AlarmIT</a:t>
            </a:r>
            <a:r>
              <a:rPr lang="en-GB" dirty="0"/>
              <a:t> und PostgreSQ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Und </a:t>
            </a:r>
            <a:r>
              <a:rPr lang="en-GB" dirty="0" err="1"/>
              <a:t>verwenden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Selektive</a:t>
            </a:r>
            <a:r>
              <a:rPr lang="en-GB" dirty="0"/>
              <a:t> </a:t>
            </a:r>
            <a:r>
              <a:rPr lang="en-GB" dirty="0" err="1"/>
              <a:t>Portfreigabe</a:t>
            </a:r>
            <a:r>
              <a:rPr lang="en-GB" dirty="0"/>
              <a:t> </a:t>
            </a:r>
            <a:r>
              <a:rPr lang="en-GB" dirty="0" err="1"/>
              <a:t>damit</a:t>
            </a:r>
            <a:r>
              <a:rPr lang="en-GB" dirty="0"/>
              <a:t> der </a:t>
            </a:r>
            <a:r>
              <a:rPr lang="en-GB" dirty="0" err="1"/>
              <a:t>Zugriff</a:t>
            </a:r>
            <a:r>
              <a:rPr lang="en-GB" dirty="0"/>
              <a:t> </a:t>
            </a:r>
            <a:r>
              <a:rPr lang="en-GB" dirty="0" err="1"/>
              <a:t>nur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geregelte</a:t>
            </a:r>
            <a:r>
              <a:rPr lang="en-GB" dirty="0"/>
              <a:t> </a:t>
            </a:r>
            <a:r>
              <a:rPr lang="en-GB" dirty="0" err="1"/>
              <a:t>Schnittstellen</a:t>
            </a:r>
            <a:r>
              <a:rPr lang="en-GB" dirty="0"/>
              <a:t> </a:t>
            </a:r>
            <a:r>
              <a:rPr lang="en-GB" dirty="0" err="1"/>
              <a:t>möglich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.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650DD71-C985-7864-2A69-B5FC745D1A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8ADC4A-28ED-9326-CF6F-28274F391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Zugriffskontrolle</a:t>
            </a:r>
            <a:r>
              <a:rPr lang="en-GB" dirty="0"/>
              <a:t>: Docker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060B4CD8-D305-71A4-7812-BBE2C2926ED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E38CD14-4C80-05BC-5CD9-A154F6C57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F2129865-2729-89E5-78CE-41B8AE4ABF1C}"/>
              </a:ext>
            </a:extLst>
          </p:cNvPr>
          <p:cNvGrpSpPr/>
          <p:nvPr/>
        </p:nvGrpSpPr>
        <p:grpSpPr>
          <a:xfrm>
            <a:off x="1252104" y="3231973"/>
            <a:ext cx="7432286" cy="1447855"/>
            <a:chOff x="3646045" y="1939607"/>
            <a:chExt cx="2371122" cy="1608626"/>
          </a:xfrm>
        </p:grpSpPr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1C163F43-7A88-5F3A-17F7-7FC64DC665DB}"/>
                </a:ext>
              </a:extLst>
            </p:cNvPr>
            <p:cNvSpPr/>
            <p:nvPr/>
          </p:nvSpPr>
          <p:spPr>
            <a:xfrm>
              <a:off x="3675339" y="1939607"/>
              <a:ext cx="2341828" cy="1496908"/>
            </a:xfrm>
            <a:prstGeom prst="rect">
              <a:avLst/>
            </a:prstGeom>
            <a:noFill/>
            <a:ln w="47625">
              <a:solidFill>
                <a:srgbClr val="00B0F0"/>
              </a:solidFill>
              <a:prstDash val="solid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788C3231-49A6-7BD3-798A-114E44A26D18}"/>
                </a:ext>
              </a:extLst>
            </p:cNvPr>
            <p:cNvSpPr txBox="1"/>
            <p:nvPr/>
          </p:nvSpPr>
          <p:spPr>
            <a:xfrm>
              <a:off x="3646045" y="3410439"/>
              <a:ext cx="2168703" cy="1377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rgbClr val="0070C0"/>
                  </a:solidFill>
                </a:rPr>
                <a:t>VerarbeitungsCounter</a:t>
              </a:r>
            </a:p>
          </p:txBody>
        </p:sp>
      </p:grpSp>
      <p:pic>
        <p:nvPicPr>
          <p:cNvPr id="74" name="Grafik 73">
            <a:extLst>
              <a:ext uri="{FF2B5EF4-FFF2-40B4-BE49-F238E27FC236}">
                <a16:creationId xmlns:a16="http://schemas.microsoft.com/office/drawing/2014/main" id="{1B5422E6-E8A8-9C17-A9D1-32B7C58F62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7236" y="3469833"/>
            <a:ext cx="1398794" cy="934592"/>
          </a:xfrm>
          <a:prstGeom prst="rect">
            <a:avLst/>
          </a:prstGeom>
        </p:spPr>
      </p:pic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6C3415D-A327-4EFF-A179-C3863725096B}"/>
              </a:ext>
            </a:extLst>
          </p:cNvPr>
          <p:cNvGrpSpPr/>
          <p:nvPr/>
        </p:nvGrpSpPr>
        <p:grpSpPr>
          <a:xfrm>
            <a:off x="4175127" y="3468869"/>
            <a:ext cx="2054595" cy="885565"/>
            <a:chOff x="3513229" y="1532823"/>
            <a:chExt cx="2168704" cy="1413240"/>
          </a:xfrm>
        </p:grpSpPr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CF37192F-ABFD-678E-64AB-5B452C0D1A1D}"/>
                </a:ext>
              </a:extLst>
            </p:cNvPr>
            <p:cNvSpPr/>
            <p:nvPr/>
          </p:nvSpPr>
          <p:spPr>
            <a:xfrm>
              <a:off x="3513229" y="1564782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2A69546E-3159-047C-3B98-996ABD307460}"/>
                </a:ext>
              </a:extLst>
            </p:cNvPr>
            <p:cNvSpPr txBox="1"/>
            <p:nvPr/>
          </p:nvSpPr>
          <p:spPr>
            <a:xfrm>
              <a:off x="3513230" y="1532823"/>
              <a:ext cx="2168703" cy="687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larmIT</a:t>
              </a:r>
              <a:endParaRPr lang="de-DE" b="1" dirty="0">
                <a:solidFill>
                  <a:schemeClr val="bg1"/>
                </a:solidFill>
              </a:endParaRP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Instanz 1</a:t>
              </a: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2CAFF277-BB8E-8BDE-697B-47CBD9CAD651}"/>
                </a:ext>
              </a:extLst>
            </p:cNvPr>
            <p:cNvSpPr txBox="1"/>
            <p:nvPr/>
          </p:nvSpPr>
          <p:spPr>
            <a:xfrm>
              <a:off x="3683893" y="2060343"/>
              <a:ext cx="1940483" cy="810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Erstellt Warn- und Störungsmeldungen anhand von empfangenen Telegrammen</a:t>
              </a:r>
            </a:p>
          </p:txBody>
        </p:sp>
      </p:grpSp>
      <p:sp>
        <p:nvSpPr>
          <p:cNvPr id="79" name="Textfeld 78">
            <a:extLst>
              <a:ext uri="{FF2B5EF4-FFF2-40B4-BE49-F238E27FC236}">
                <a16:creationId xmlns:a16="http://schemas.microsoft.com/office/drawing/2014/main" id="{0C0F9495-AFEF-4814-9353-5A1567D5E035}"/>
              </a:ext>
            </a:extLst>
          </p:cNvPr>
          <p:cNvSpPr txBox="1"/>
          <p:nvPr/>
        </p:nvSpPr>
        <p:spPr>
          <a:xfrm>
            <a:off x="7197236" y="3558174"/>
            <a:ext cx="13987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PostgreSQL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4D57D4DB-D51C-1DC3-6F21-3D59D48E0AB6}"/>
              </a:ext>
            </a:extLst>
          </p:cNvPr>
          <p:cNvSpPr txBox="1"/>
          <p:nvPr/>
        </p:nvSpPr>
        <p:spPr>
          <a:xfrm>
            <a:off x="7253077" y="3865951"/>
            <a:ext cx="12634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Speichert empfangene Nachrichten</a:t>
            </a:r>
          </a:p>
        </p:txBody>
      </p: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D5B624D3-0CB7-D0DD-1B1F-533F956B7C81}"/>
              </a:ext>
            </a:extLst>
          </p:cNvPr>
          <p:cNvGrpSpPr/>
          <p:nvPr/>
        </p:nvGrpSpPr>
        <p:grpSpPr>
          <a:xfrm>
            <a:off x="1509810" y="3465943"/>
            <a:ext cx="1671803" cy="885565"/>
            <a:chOff x="3379929" y="1383139"/>
            <a:chExt cx="2168703" cy="1413240"/>
          </a:xfrm>
        </p:grpSpPr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7319DDA4-4663-ADCC-E377-1A099C299329}"/>
                </a:ext>
              </a:extLst>
            </p:cNvPr>
            <p:cNvSpPr/>
            <p:nvPr/>
          </p:nvSpPr>
          <p:spPr>
            <a:xfrm>
              <a:off x="3379929" y="1415098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4ACDDF69-9DC7-7CB5-9C3C-C478D6140E48}"/>
                </a:ext>
              </a:extLst>
            </p:cNvPr>
            <p:cNvSpPr txBox="1"/>
            <p:nvPr/>
          </p:nvSpPr>
          <p:spPr>
            <a:xfrm>
              <a:off x="3379929" y="1383139"/>
              <a:ext cx="2168703" cy="491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ctiveMQ</a:t>
              </a:r>
              <a:endParaRPr lang="de-DE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B827EA28-F3F1-03DD-3D34-B92D4E9309BE}"/>
                </a:ext>
              </a:extLst>
            </p:cNvPr>
            <p:cNvSpPr txBox="1"/>
            <p:nvPr/>
          </p:nvSpPr>
          <p:spPr>
            <a:xfrm>
              <a:off x="3550594" y="1910659"/>
              <a:ext cx="1940483" cy="5894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Regelt das Empfangen und senden von Nachrichten</a:t>
              </a:r>
            </a:p>
          </p:txBody>
        </p:sp>
      </p:grpSp>
      <p:cxnSp>
        <p:nvCxnSpPr>
          <p:cNvPr id="85" name="Verbinder: gewinkelt 84">
            <a:extLst>
              <a:ext uri="{FF2B5EF4-FFF2-40B4-BE49-F238E27FC236}">
                <a16:creationId xmlns:a16="http://schemas.microsoft.com/office/drawing/2014/main" id="{64599ED6-A632-98EF-A0DB-1FA30256F3A4}"/>
              </a:ext>
            </a:extLst>
          </p:cNvPr>
          <p:cNvCxnSpPr>
            <a:cxnSpLocks/>
            <a:stCxn id="88" idx="2"/>
            <a:endCxn id="83" idx="0"/>
          </p:cNvCxnSpPr>
          <p:nvPr/>
        </p:nvCxnSpPr>
        <p:spPr>
          <a:xfrm rot="5400000">
            <a:off x="1985027" y="3105257"/>
            <a:ext cx="721372" cy="1"/>
          </a:xfrm>
          <a:prstGeom prst="bentConnector3">
            <a:avLst>
              <a:gd name="adj1" fmla="val 50000"/>
            </a:avLst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Verbinder: gewinkelt 85">
            <a:extLst>
              <a:ext uri="{FF2B5EF4-FFF2-40B4-BE49-F238E27FC236}">
                <a16:creationId xmlns:a16="http://schemas.microsoft.com/office/drawing/2014/main" id="{107D1ABB-382F-FC73-41BD-4B0B8798F305}"/>
              </a:ext>
            </a:extLst>
          </p:cNvPr>
          <p:cNvCxnSpPr>
            <a:cxnSpLocks/>
            <a:stCxn id="92" idx="2"/>
            <a:endCxn id="77" idx="3"/>
          </p:cNvCxnSpPr>
          <p:nvPr/>
        </p:nvCxnSpPr>
        <p:spPr>
          <a:xfrm rot="5400000">
            <a:off x="5973721" y="2985213"/>
            <a:ext cx="955101" cy="443098"/>
          </a:xfrm>
          <a:prstGeom prst="bentConnector2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EDAA98D4-2B3F-F255-4F43-5E3145C23169}"/>
              </a:ext>
            </a:extLst>
          </p:cNvPr>
          <p:cNvGrpSpPr/>
          <p:nvPr/>
        </p:nvGrpSpPr>
        <p:grpSpPr>
          <a:xfrm>
            <a:off x="1320223" y="1891370"/>
            <a:ext cx="2050980" cy="853201"/>
            <a:chOff x="637317" y="1967657"/>
            <a:chExt cx="2168704" cy="1410186"/>
          </a:xfrm>
        </p:grpSpPr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3437C0AD-474F-ABB7-827B-9E59874D606E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DE461863-9C40-DF68-98EB-CA5CE2B599B4}"/>
                </a:ext>
              </a:extLst>
            </p:cNvPr>
            <p:cNvSpPr txBox="1"/>
            <p:nvPr/>
          </p:nvSpPr>
          <p:spPr>
            <a:xfrm>
              <a:off x="1116892" y="1967657"/>
              <a:ext cx="1203015" cy="1068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Level 1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A8F7885A-F317-70E0-F042-E176B126398C}"/>
                </a:ext>
              </a:extLst>
            </p:cNvPr>
            <p:cNvSpPr txBox="1"/>
            <p:nvPr/>
          </p:nvSpPr>
          <p:spPr>
            <a:xfrm>
              <a:off x="979475" y="2509416"/>
              <a:ext cx="1539142" cy="83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Schnittstelle die Daten von Analysegeräten Empfängt und Überträgt</a:t>
              </a: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75C470F4-7D3A-05D7-1120-237CB4C8FF27}"/>
              </a:ext>
            </a:extLst>
          </p:cNvPr>
          <p:cNvGrpSpPr/>
          <p:nvPr/>
        </p:nvGrpSpPr>
        <p:grpSpPr>
          <a:xfrm>
            <a:off x="5684023" y="1939590"/>
            <a:ext cx="1977594" cy="789622"/>
            <a:chOff x="657278" y="2032251"/>
            <a:chExt cx="2168704" cy="957440"/>
          </a:xfrm>
        </p:grpSpPr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7AA6165F-9AEF-A937-0667-FEE49B11886A}"/>
                </a:ext>
              </a:extLst>
            </p:cNvPr>
            <p:cNvSpPr/>
            <p:nvPr/>
          </p:nvSpPr>
          <p:spPr>
            <a:xfrm>
              <a:off x="657278" y="2032251"/>
              <a:ext cx="2168704" cy="9574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AF5E7FEF-DE61-3E61-EC60-6610791794E7}"/>
                </a:ext>
              </a:extLst>
            </p:cNvPr>
            <p:cNvSpPr txBox="1"/>
            <p:nvPr/>
          </p:nvSpPr>
          <p:spPr>
            <a:xfrm>
              <a:off x="836926" y="2066602"/>
              <a:ext cx="1800596" cy="634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GUI</a:t>
              </a:r>
              <a:endPara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9537E08C-1541-C334-E407-47BAA490D77A}"/>
                </a:ext>
              </a:extLst>
            </p:cNvPr>
            <p:cNvSpPr txBox="1"/>
            <p:nvPr/>
          </p:nvSpPr>
          <p:spPr>
            <a:xfrm>
              <a:off x="715282" y="2348266"/>
              <a:ext cx="2016203" cy="615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von </a:t>
              </a:r>
              <a:r>
                <a:rPr lang="de-DE" sz="900" dirty="0" err="1">
                  <a:solidFill>
                    <a:schemeClr val="bg1">
                      <a:lumMod val="95000"/>
                    </a:schemeClr>
                  </a:solidFill>
                </a:rPr>
                <a:t>AlarmIT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 über den Browser</a:t>
              </a:r>
              <a:endParaRPr lang="de-DE" sz="900" dirty="0">
                <a:solidFill>
                  <a:schemeClr val="bg2"/>
                </a:solidFill>
              </a:endParaRPr>
            </a:p>
          </p:txBody>
        </p:sp>
      </p:grp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17796941-4AD7-6C6A-7568-A25931537156}"/>
              </a:ext>
            </a:extLst>
          </p:cNvPr>
          <p:cNvCxnSpPr>
            <a:stCxn id="82" idx="3"/>
            <a:endCxn id="76" idx="1"/>
          </p:cNvCxnSpPr>
          <p:nvPr/>
        </p:nvCxnSpPr>
        <p:spPr>
          <a:xfrm>
            <a:off x="3181613" y="3918739"/>
            <a:ext cx="993514" cy="29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8A529A22-A4EE-5D39-5F58-944F4B6C6960}"/>
              </a:ext>
            </a:extLst>
          </p:cNvPr>
          <p:cNvCxnSpPr>
            <a:stCxn id="76" idx="3"/>
            <a:endCxn id="74" idx="1"/>
          </p:cNvCxnSpPr>
          <p:nvPr/>
        </p:nvCxnSpPr>
        <p:spPr>
          <a:xfrm>
            <a:off x="6229721" y="3921665"/>
            <a:ext cx="967515" cy="15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Textfeld 103">
            <a:extLst>
              <a:ext uri="{FF2B5EF4-FFF2-40B4-BE49-F238E27FC236}">
                <a16:creationId xmlns:a16="http://schemas.microsoft.com/office/drawing/2014/main" id="{471828D6-CE99-BE4F-936D-726F98118B14}"/>
              </a:ext>
            </a:extLst>
          </p:cNvPr>
          <p:cNvSpPr txBox="1"/>
          <p:nvPr/>
        </p:nvSpPr>
        <p:spPr>
          <a:xfrm>
            <a:off x="121622" y="2693102"/>
            <a:ext cx="10212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dirty="0">
                <a:solidFill>
                  <a:srgbClr val="00B0F0"/>
                </a:solidFill>
              </a:rPr>
              <a:t>Docker</a:t>
            </a:r>
            <a:endParaRPr lang="de-DE" sz="1800" b="1" dirty="0">
              <a:solidFill>
                <a:srgbClr val="00B0F0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5840AEE1-CEB7-D8F9-4A20-283436CBEAF3}"/>
              </a:ext>
            </a:extLst>
          </p:cNvPr>
          <p:cNvCxnSpPr>
            <a:cxnSpLocks/>
          </p:cNvCxnSpPr>
          <p:nvPr/>
        </p:nvCxnSpPr>
        <p:spPr>
          <a:xfrm>
            <a:off x="819511" y="3016968"/>
            <a:ext cx="432593" cy="215005"/>
          </a:xfrm>
          <a:prstGeom prst="straightConnector1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8ADD2EF0-84E9-4BEA-FD38-FA5F52100A28}"/>
              </a:ext>
            </a:extLst>
          </p:cNvPr>
          <p:cNvCxnSpPr>
            <a:cxnSpLocks/>
          </p:cNvCxnSpPr>
          <p:nvPr/>
        </p:nvCxnSpPr>
        <p:spPr>
          <a:xfrm>
            <a:off x="4682532" y="2296048"/>
            <a:ext cx="915322" cy="0"/>
          </a:xfrm>
          <a:prstGeom prst="straightConnector1">
            <a:avLst/>
          </a:prstGeom>
          <a:ln w="1016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Grafik 111">
            <a:extLst>
              <a:ext uri="{FF2B5EF4-FFF2-40B4-BE49-F238E27FC236}">
                <a16:creationId xmlns:a16="http://schemas.microsoft.com/office/drawing/2014/main" id="{15A08352-E9F1-CEBC-2A2F-D6EFB3B9A0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7351" y="1943986"/>
            <a:ext cx="657798" cy="485309"/>
          </a:xfrm>
          <a:prstGeom prst="rect">
            <a:avLst/>
          </a:prstGeom>
        </p:spPr>
      </p:pic>
      <p:sp>
        <p:nvSpPr>
          <p:cNvPr id="115" name="Textfeld 114">
            <a:extLst>
              <a:ext uri="{FF2B5EF4-FFF2-40B4-BE49-F238E27FC236}">
                <a16:creationId xmlns:a16="http://schemas.microsoft.com/office/drawing/2014/main" id="{F205DF00-CFA4-1E56-EF17-0BAA9DBD782C}"/>
              </a:ext>
            </a:extLst>
          </p:cNvPr>
          <p:cNvSpPr txBox="1"/>
          <p:nvPr/>
        </p:nvSpPr>
        <p:spPr>
          <a:xfrm>
            <a:off x="4454124" y="2414318"/>
            <a:ext cx="12827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 err="1"/>
              <a:t>Zugriff</a:t>
            </a:r>
            <a:r>
              <a:rPr lang="en-GB" sz="800" dirty="0"/>
              <a:t> </a:t>
            </a:r>
            <a:r>
              <a:rPr lang="en-GB" sz="800" dirty="0" err="1"/>
              <a:t>über</a:t>
            </a:r>
            <a:r>
              <a:rPr lang="en-GB" sz="800" dirty="0"/>
              <a:t> </a:t>
            </a:r>
            <a:r>
              <a:rPr lang="en-GB" sz="800" dirty="0" err="1"/>
              <a:t>einheitliche</a:t>
            </a:r>
            <a:r>
              <a:rPr lang="en-GB" sz="800" dirty="0"/>
              <a:t> </a:t>
            </a:r>
            <a:r>
              <a:rPr lang="en-GB" sz="800" dirty="0" err="1"/>
              <a:t>Schnittstelle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950866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0813A06-3CF0-304B-E70A-17C3CF6B7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0E2A34-F99E-48DD-377F-F767B05195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3A71D18-6E12-5FA9-F64E-A559FE6AA3E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47FDAF-1059-452B-A4FA-AC0A95C3AC7E}" type="datetime1">
              <a:rPr lang="de-DE" smtClean="0"/>
              <a:t>28.11.20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6F76FAA-DD84-E49B-4BB8-C8657D58B2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6738A79-8F73-FF0D-EF25-19E1821058AA}"/>
              </a:ext>
            </a:extLst>
          </p:cNvPr>
          <p:cNvGrpSpPr/>
          <p:nvPr/>
        </p:nvGrpSpPr>
        <p:grpSpPr>
          <a:xfrm>
            <a:off x="367217" y="3196557"/>
            <a:ext cx="2050980" cy="853201"/>
            <a:chOff x="637317" y="1967657"/>
            <a:chExt cx="2168704" cy="141018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A2385D7-BED0-1670-2B01-6760E61EF4D4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4405819C-E9AA-C83F-70BD-02329F766718}"/>
                </a:ext>
              </a:extLst>
            </p:cNvPr>
            <p:cNvSpPr txBox="1"/>
            <p:nvPr/>
          </p:nvSpPr>
          <p:spPr>
            <a:xfrm>
              <a:off x="1116892" y="1967657"/>
              <a:ext cx="1203015" cy="1068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Level 1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C5120C04-953E-7179-965D-AFD47C41A5ED}"/>
                </a:ext>
              </a:extLst>
            </p:cNvPr>
            <p:cNvSpPr txBox="1"/>
            <p:nvPr/>
          </p:nvSpPr>
          <p:spPr>
            <a:xfrm>
              <a:off x="979475" y="2509416"/>
              <a:ext cx="1539142" cy="839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Schnittstelle die Daten von Analysegeräten Empfängt und Überträgt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1F59F17-A4E3-7BEB-527F-9F611F4BBF89}"/>
              </a:ext>
            </a:extLst>
          </p:cNvPr>
          <p:cNvGrpSpPr/>
          <p:nvPr/>
        </p:nvGrpSpPr>
        <p:grpSpPr>
          <a:xfrm>
            <a:off x="3707526" y="3167958"/>
            <a:ext cx="2058612" cy="910399"/>
            <a:chOff x="3761902" y="1992733"/>
            <a:chExt cx="2172944" cy="1381281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AC81C24-1664-AAE8-087C-5294B4B44B42}"/>
                </a:ext>
              </a:extLst>
            </p:cNvPr>
            <p:cNvSpPr/>
            <p:nvPr/>
          </p:nvSpPr>
          <p:spPr>
            <a:xfrm>
              <a:off x="3766143" y="1992733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752D9046-F80D-7EFE-23B1-D6F4DE098E88}"/>
                </a:ext>
              </a:extLst>
            </p:cNvPr>
            <p:cNvSpPr txBox="1"/>
            <p:nvPr/>
          </p:nvSpPr>
          <p:spPr>
            <a:xfrm>
              <a:off x="3761902" y="2067953"/>
              <a:ext cx="2168703" cy="6537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larmIT</a:t>
              </a:r>
              <a:endParaRPr lang="de-DE" b="1" dirty="0">
                <a:solidFill>
                  <a:schemeClr val="bg1"/>
                </a:solidFill>
              </a:endParaRP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[Software System]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CDA9E514-C2C7-874F-8498-1EBE654D2C02}"/>
                </a:ext>
              </a:extLst>
            </p:cNvPr>
            <p:cNvSpPr txBox="1"/>
            <p:nvPr/>
          </p:nvSpPr>
          <p:spPr>
            <a:xfrm>
              <a:off x="3884495" y="2589452"/>
              <a:ext cx="1940483" cy="770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Erstellt Warn- und Störungsmeldungen anhand von empfangenen Telegrammen</a:t>
              </a:r>
            </a:p>
          </p:txBody>
        </p: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89687BE2-B1E8-87BA-CE3C-20EFE2FC8AD4}"/>
              </a:ext>
            </a:extLst>
          </p:cNvPr>
          <p:cNvCxnSpPr>
            <a:cxnSpLocks/>
            <a:stCxn id="8" idx="3"/>
            <a:endCxn id="12" idx="1"/>
          </p:cNvCxnSpPr>
          <p:nvPr/>
        </p:nvCxnSpPr>
        <p:spPr>
          <a:xfrm flipV="1">
            <a:off x="2418197" y="3623158"/>
            <a:ext cx="1293347" cy="7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89354F0-A3C4-65BD-131E-BC6C6F720BFD}"/>
              </a:ext>
            </a:extLst>
          </p:cNvPr>
          <p:cNvGrpSpPr/>
          <p:nvPr/>
        </p:nvGrpSpPr>
        <p:grpSpPr>
          <a:xfrm>
            <a:off x="6439313" y="1682566"/>
            <a:ext cx="1426516" cy="1013623"/>
            <a:chOff x="7709480" y="2014036"/>
            <a:chExt cx="1595467" cy="1564341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9F2579BE-D75C-1711-DC1F-0CAFC2573B33}"/>
                </a:ext>
              </a:extLst>
            </p:cNvPr>
            <p:cNvGrpSpPr/>
            <p:nvPr/>
          </p:nvGrpSpPr>
          <p:grpSpPr>
            <a:xfrm>
              <a:off x="7768343" y="2014036"/>
              <a:ext cx="1536604" cy="1564341"/>
              <a:chOff x="7360821" y="4614542"/>
              <a:chExt cx="1231734" cy="1224594"/>
            </a:xfrm>
          </p:grpSpPr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B6C5AB52-A581-8BCA-E990-0FB3543502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7360822" y="4614542"/>
                <a:ext cx="1231733" cy="1224594"/>
              </a:xfrm>
              <a:prstGeom prst="rect">
                <a:avLst/>
              </a:prstGeom>
            </p:spPr>
          </p:pic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EA07D742-DB95-3E2A-A08F-A956ED1F793A}"/>
                  </a:ext>
                </a:extLst>
              </p:cNvPr>
              <p:cNvSpPr txBox="1"/>
              <p:nvPr/>
            </p:nvSpPr>
            <p:spPr>
              <a:xfrm>
                <a:off x="7360821" y="5069986"/>
                <a:ext cx="1231733" cy="5577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b="1" dirty="0">
                    <a:solidFill>
                      <a:schemeClr val="bg2"/>
                    </a:solidFill>
                  </a:rPr>
                  <a:t>Stahlwerkslabor Benutzer</a:t>
                </a:r>
              </a:p>
            </p:txBody>
          </p:sp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FB21F0F-5E85-130A-6C1B-9D2249E11470}"/>
                </a:ext>
              </a:extLst>
            </p:cNvPr>
            <p:cNvSpPr txBox="1"/>
            <p:nvPr/>
          </p:nvSpPr>
          <p:spPr>
            <a:xfrm>
              <a:off x="7709480" y="3185459"/>
              <a:ext cx="1595465" cy="264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85000"/>
                    </a:schemeClr>
                  </a:solidFill>
                </a:rPr>
                <a:t>Reagiert auf Meldungen</a:t>
              </a:r>
            </a:p>
          </p:txBody>
        </p: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C393C29A-4566-3164-CA94-8356D7BB6D31}"/>
              </a:ext>
            </a:extLst>
          </p:cNvPr>
          <p:cNvSpPr txBox="1"/>
          <p:nvPr/>
        </p:nvSpPr>
        <p:spPr>
          <a:xfrm>
            <a:off x="2445359" y="3306165"/>
            <a:ext cx="11223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endet Daten-Telegram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E751A56-AF83-4C9A-C90E-1BEB62CB7DBA}"/>
              </a:ext>
            </a:extLst>
          </p:cNvPr>
          <p:cNvSpPr txBox="1"/>
          <p:nvPr/>
        </p:nvSpPr>
        <p:spPr>
          <a:xfrm>
            <a:off x="4734823" y="2735371"/>
            <a:ext cx="1014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Fragt Meldungen ab und übermittelt Befehle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35A9014F-F7A7-5F99-A518-DBB1CA03FA95}"/>
              </a:ext>
            </a:extLst>
          </p:cNvPr>
          <p:cNvGrpSpPr/>
          <p:nvPr/>
        </p:nvGrpSpPr>
        <p:grpSpPr>
          <a:xfrm>
            <a:off x="3750044" y="1985290"/>
            <a:ext cx="1977594" cy="789622"/>
            <a:chOff x="657278" y="2032251"/>
            <a:chExt cx="2168704" cy="95744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D0F7440-F484-5523-FFB6-EC9A3BBC0AC1}"/>
                </a:ext>
              </a:extLst>
            </p:cNvPr>
            <p:cNvSpPr/>
            <p:nvPr/>
          </p:nvSpPr>
          <p:spPr>
            <a:xfrm>
              <a:off x="657278" y="2032251"/>
              <a:ext cx="2168704" cy="9574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84D8C0FE-934A-2F7B-DEDD-16305E6AC77F}"/>
                </a:ext>
              </a:extLst>
            </p:cNvPr>
            <p:cNvSpPr txBox="1"/>
            <p:nvPr/>
          </p:nvSpPr>
          <p:spPr>
            <a:xfrm>
              <a:off x="836926" y="2066602"/>
              <a:ext cx="1800596" cy="634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GUI</a:t>
              </a:r>
              <a:endPara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DEB5AB26-D6C4-E766-674B-7CD790B8D161}"/>
                </a:ext>
              </a:extLst>
            </p:cNvPr>
            <p:cNvSpPr txBox="1"/>
            <p:nvPr/>
          </p:nvSpPr>
          <p:spPr>
            <a:xfrm>
              <a:off x="715282" y="2348266"/>
              <a:ext cx="2016203" cy="615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von </a:t>
              </a:r>
              <a:r>
                <a:rPr lang="de-DE" sz="900" dirty="0" err="1">
                  <a:solidFill>
                    <a:schemeClr val="bg1">
                      <a:lumMod val="95000"/>
                    </a:schemeClr>
                  </a:solidFill>
                </a:rPr>
                <a:t>AlarmIT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 über den Browser</a:t>
              </a:r>
              <a:endParaRPr lang="de-DE" sz="900" dirty="0">
                <a:solidFill>
                  <a:schemeClr val="bg2"/>
                </a:solidFill>
              </a:endParaRPr>
            </a:p>
          </p:txBody>
        </p:sp>
      </p:grp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5650FFB2-C2C1-0D31-6D0E-A8F11BD143D7}"/>
              </a:ext>
            </a:extLst>
          </p:cNvPr>
          <p:cNvCxnSpPr>
            <a:cxnSpLocks/>
            <a:stCxn id="12" idx="0"/>
            <a:endCxn id="24" idx="2"/>
          </p:cNvCxnSpPr>
          <p:nvPr/>
        </p:nvCxnSpPr>
        <p:spPr>
          <a:xfrm flipV="1">
            <a:off x="4738841" y="2774913"/>
            <a:ext cx="0" cy="393045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FCAF6428-3854-4D12-B76B-87512462F5F5}"/>
              </a:ext>
            </a:extLst>
          </p:cNvPr>
          <p:cNvCxnSpPr>
            <a:cxnSpLocks/>
            <a:endCxn id="24" idx="3"/>
          </p:cNvCxnSpPr>
          <p:nvPr/>
        </p:nvCxnSpPr>
        <p:spPr>
          <a:xfrm flipH="1">
            <a:off x="5727638" y="2380101"/>
            <a:ext cx="759563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E7518FA2-42D8-CFDD-41BB-EC86A379C2E2}"/>
              </a:ext>
            </a:extLst>
          </p:cNvPr>
          <p:cNvSpPr txBox="1"/>
          <p:nvPr/>
        </p:nvSpPr>
        <p:spPr>
          <a:xfrm>
            <a:off x="5600904" y="2056026"/>
            <a:ext cx="8647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Zeigt Meldungen an</a:t>
            </a:r>
          </a:p>
        </p:txBody>
      </p:sp>
    </p:spTree>
    <p:extLst>
      <p:ext uri="{BB962C8B-B14F-4D97-AF65-F5344CB8AC3E}">
        <p14:creationId xmlns:p14="http://schemas.microsoft.com/office/powerpoint/2010/main" val="286992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llinger_Saarstahl_SHS_Stahl-Holding-Saar_16zu9">
  <a:themeElements>
    <a:clrScheme name="SAG-DH-Mix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6707"/>
      </a:accent1>
      <a:accent2>
        <a:srgbClr val="00628A"/>
      </a:accent2>
      <a:accent3>
        <a:srgbClr val="AF1B67"/>
      </a:accent3>
      <a:accent4>
        <a:srgbClr val="FDC300"/>
      </a:accent4>
      <a:accent5>
        <a:srgbClr val="008000"/>
      </a:accent5>
      <a:accent6>
        <a:srgbClr val="7D7D7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ternehmenspräsenation2020_Dillinger_Saarstahl_Stand_16zu9_200817" id="{08637ECF-655B-654B-BA72-F9B346294893}" vid="{9284C7CB-B7B1-9D4D-9C80-2612D52B34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llinger_Saarstahl_SHS_Stahl-Holding-Saar_16zu9</Template>
  <TotalTime>0</TotalTime>
  <Words>1238</Words>
  <Application>Microsoft Office PowerPoint</Application>
  <PresentationFormat>Bildschirmpräsentation (16:9)</PresentationFormat>
  <Paragraphs>276</Paragraphs>
  <Slides>22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8" baseType="lpstr">
      <vt:lpstr>Arial</vt:lpstr>
      <vt:lpstr>Calibri</vt:lpstr>
      <vt:lpstr>Helvetica</vt:lpstr>
      <vt:lpstr>Wingdings</vt:lpstr>
      <vt:lpstr>Dillinger_Saarstahl_SHS_Stahl-Holding-Saar_16zu9</vt:lpstr>
      <vt:lpstr>think-cell Folie</vt:lpstr>
      <vt:lpstr>PowerPoint-Präsentation</vt:lpstr>
      <vt:lpstr>Idee vom DigiSpine</vt:lpstr>
      <vt:lpstr>Einbindung ins DIGISPINE</vt:lpstr>
      <vt:lpstr>Was ist ein Verteiltes System?</vt:lpstr>
      <vt:lpstr>AlarmIT: Umgebung</vt:lpstr>
      <vt:lpstr>AlarmIT: Container Ebene</vt:lpstr>
      <vt:lpstr>Zugriffswege</vt:lpstr>
      <vt:lpstr>Zugriffskontrolle: Docker</vt:lpstr>
      <vt:lpstr>PowerPoint-Präsentation</vt:lpstr>
      <vt:lpstr>AlarmIT: Container Ebene</vt:lpstr>
      <vt:lpstr>AlarmIT ist ein einfaches verteiltes System</vt:lpstr>
      <vt:lpstr>Abgrenzung des Kontextes durch Docker</vt:lpstr>
      <vt:lpstr>Besondere Eigenschaft von AlarmIT</vt:lpstr>
      <vt:lpstr>Workshop Thematik</vt:lpstr>
      <vt:lpstr>Vorbereitung</vt:lpstr>
      <vt:lpstr>Synchrone Kommunikation : HTTP Request</vt:lpstr>
      <vt:lpstr>Synchrone Kommunikation : HTTP Request</vt:lpstr>
      <vt:lpstr>Synchrone Kommunikation : HTTP Request</vt:lpstr>
      <vt:lpstr>Asynchrone Kommunikation : point-to-point</vt:lpstr>
      <vt:lpstr>Asynchrone Kommunikation : publish/subscribe</vt:lpstr>
      <vt:lpstr>Asynchrone Kommunikation : publish/subscribe seit JMS 2.0</vt:lpstr>
      <vt:lpstr>PowerPoint-Präsentation</vt:lpstr>
    </vt:vector>
  </TitlesOfParts>
  <Company>D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LANTA, Jeremie</dc:creator>
  <cp:lastModifiedBy>Jeremie Planta</cp:lastModifiedBy>
  <cp:revision>269</cp:revision>
  <dcterms:created xsi:type="dcterms:W3CDTF">2022-08-25T06:50:03Z</dcterms:created>
  <dcterms:modified xsi:type="dcterms:W3CDTF">2022-11-28T05:28:42Z</dcterms:modified>
</cp:coreProperties>
</file>